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2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06" r:id="rId5"/>
    <p:sldMasterId id="2147483761" r:id="rId6"/>
  </p:sldMasterIdLst>
  <p:notesMasterIdLst>
    <p:notesMasterId r:id="rId24"/>
  </p:notesMasterIdLst>
  <p:handoutMasterIdLst>
    <p:handoutMasterId r:id="rId25"/>
  </p:handoutMasterIdLst>
  <p:sldIdLst>
    <p:sldId id="2145705754" r:id="rId7"/>
    <p:sldId id="2145705705" r:id="rId8"/>
    <p:sldId id="2145705730" r:id="rId9"/>
    <p:sldId id="2145705738" r:id="rId10"/>
    <p:sldId id="2145705744" r:id="rId11"/>
    <p:sldId id="2145705743" r:id="rId12"/>
    <p:sldId id="2145705742" r:id="rId13"/>
    <p:sldId id="2145705710" r:id="rId14"/>
    <p:sldId id="2053842044" r:id="rId15"/>
    <p:sldId id="372" r:id="rId16"/>
    <p:sldId id="2142532393" r:id="rId17"/>
    <p:sldId id="2145705737" r:id="rId18"/>
    <p:sldId id="2053842043" r:id="rId19"/>
    <p:sldId id="2145705755" r:id="rId20"/>
    <p:sldId id="2145705756" r:id="rId21"/>
    <p:sldId id="2145705757" r:id="rId22"/>
    <p:sldId id="260" r:id="rId23"/>
  </p:sldIdLst>
  <p:sldSz cx="12192000" cy="6858000"/>
  <p:notesSz cx="7023100" cy="9309100"/>
  <p:custDataLst>
    <p:tags r:id="rId26"/>
  </p:custDataLst>
  <p:defaultTextStyle>
    <a:defPPr rtl="0"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Styl jasny 1 — Ak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D083AE6-46FA-4A59-8FB0-9F97EB10719F}" styleName="Styl jasny 3 — Ak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73F8A54-F971-430D-9108-034FE38666EA}" styleName="ABB Default Table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0" cmpd="sng">
              <a:solidFill>
                <a:schemeClr val="dk1"/>
              </a:solidFill>
            </a:ln>
          </a:bottom>
          <a:insideH>
            <a:ln w="75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lt1"/>
          </a:solidFill>
        </a:fill>
      </a:tcStyle>
    </a:band1V>
    <a:band2V>
      <a:tcStyle>
        <a:tcBdr/>
      </a:tcStyle>
    </a:band2V>
    <a:lastCol>
      <a:tcTxStyle b="off">
        <a:fontRef idx="minor">
          <a:schemeClr val="dk1"/>
        </a:fontRef>
        <a:schemeClr val="dk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hemeClr val="dk1"/>
        </a:fontRef>
        <a:schemeClr val="dk1"/>
      </a:tcTxStyle>
      <a:tcStyle>
        <a:tcBdr/>
        <a:fill>
          <a:solidFill>
            <a:schemeClr val="lt1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tx2"/>
      </a:tcTxStyle>
      <a:tcStyle>
        <a:tcBdr>
          <a:bottom>
            <a:ln w="15000" cmpd="sng">
              <a:solidFill>
                <a:schemeClr val="dk1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70" d="100"/>
          <a:sy n="70" d="100"/>
        </p:scale>
        <p:origin x="-720" y="-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" y="0"/>
            <a:ext cx="3043343" cy="4654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en-US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3978133" y="0"/>
            <a:ext cx="3043343" cy="4654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696490A3-8906-4C15-BA06-29841194A30F}" type="datetimeFigureOut">
              <a:rPr lang="en-US" smtClean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6/18/2021</a:t>
            </a:fld>
            <a:endParaRPr lang="en-US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1" y="8842029"/>
            <a:ext cx="3043343" cy="4654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en-US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3978133" y="8842029"/>
            <a:ext cx="3043343" cy="4654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CDABD733-F72C-4484-8056-9C6167F848BC}" type="slidenum">
              <a:rPr lang="en-US" smtClean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‹nº›</a:t>
            </a:fld>
            <a:endParaRPr lang="en-US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56115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" y="0"/>
            <a:ext cx="3043343" cy="4654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gray">
          <a:xfrm>
            <a:off x="3978133" y="0"/>
            <a:ext cx="3043343" cy="4654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rtl="0"/>
            <a:fld id="{7B9B1A6A-6BBE-4409-8C9E-DA0703379151}" type="datetimeFigureOut">
              <a:rPr lang="en-US" smtClean="0"/>
              <a:pPr rtl="0"/>
              <a:t>6/18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11163" y="698500"/>
            <a:ext cx="6207125" cy="3490913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93062" y="4421823"/>
            <a:ext cx="6236976" cy="418909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gray">
          <a:xfrm>
            <a:off x="1" y="8842029"/>
            <a:ext cx="3043343" cy="4654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3978133" y="8842029"/>
            <a:ext cx="3043343" cy="4654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rtl="0"/>
            <a:fld id="{3A94E69C-C28A-4BE6-BE89-71D8FB2035FD}" type="slidenum">
              <a:rPr lang="en-US" smtClean="0"/>
              <a:pPr rtl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08856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defRPr sz="1200" kern="1200">
        <a:solidFill>
          <a:schemeClr val="tx1"/>
        </a:solidFill>
        <a:latin typeface="ABBvoice" panose="020D0603020503020204" pitchFamily="34" charset="0"/>
        <a:ea typeface="ABBvoice" panose="020D0603020503020204" pitchFamily="34" charset="0"/>
        <a:cs typeface="ABBvoice" panose="020D0603020503020204" pitchFamily="34" charset="0"/>
      </a:defRPr>
    </a:lvl1pPr>
    <a:lvl2pPr marL="180000" indent="-180000" algn="l" defTabSz="914400" rtl="0" eaLnBrk="1" latinLnBrk="0" hangingPunct="1">
      <a:buFont typeface="ABBvoiceOffice" panose="020D0603020503020204" pitchFamily="34" charset="0"/>
      <a:buChar char="–"/>
      <a:defRPr sz="1200" kern="1200">
        <a:solidFill>
          <a:schemeClr val="tx1"/>
        </a:solidFill>
        <a:latin typeface="ABBvoice" panose="020D0603020503020204" pitchFamily="34" charset="0"/>
        <a:ea typeface="ABBvoice" panose="020D0603020503020204" pitchFamily="34" charset="0"/>
        <a:cs typeface="ABBvoice" panose="020D0603020503020204" pitchFamily="34" charset="0"/>
      </a:defRPr>
    </a:lvl2pPr>
    <a:lvl3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BBvoice" panose="020D0603020503020204" pitchFamily="34" charset="0"/>
        <a:ea typeface="ABBvoice" panose="020D0603020503020204" pitchFamily="34" charset="0"/>
        <a:cs typeface="ABBvoice" panose="020D0603020503020204" pitchFamily="34" charset="0"/>
      </a:defRPr>
    </a:lvl3pPr>
    <a:lvl4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BBvoice" panose="020D0603020503020204" pitchFamily="34" charset="0"/>
        <a:ea typeface="ABBvoice" panose="020D0603020503020204" pitchFamily="34" charset="0"/>
        <a:cs typeface="ABBvoice" panose="020D0603020503020204" pitchFamily="34" charset="0"/>
      </a:defRPr>
    </a:lvl4pPr>
    <a:lvl5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BBvoice" panose="020D0603020503020204" pitchFamily="34" charset="0"/>
        <a:ea typeface="ABBvoice" panose="020D0603020503020204" pitchFamily="34" charset="0"/>
        <a:cs typeface="ABBvoice" panose="020D0603020503020204" pitchFamily="34" charset="0"/>
      </a:defRPr>
    </a:lvl5pPr>
    <a:lvl6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3A94E69C-C28A-4BE6-BE89-71D8FB2035FD}" type="slidenum">
              <a:rPr lang="en-US" smtClean="0"/>
              <a:pPr rtl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97368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4E69C-C28A-4BE6-BE89-71D8FB2035F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49422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 bwMode="gray">
          <a:xfrm>
            <a:off x="334963" y="365752"/>
            <a:ext cx="1528942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40519" y="5000633"/>
            <a:ext cx="10112937" cy="224432"/>
          </a:xfrm>
        </p:spPr>
        <p:txBody>
          <a:bodyPr lIns="0" tIns="0" rIns="0" bIns="0" rtlCol="0" anchor="b"/>
          <a:lstStyle>
            <a:lvl1pPr marL="1588" indent="0">
              <a:buFont typeface="Arial" panose="020B0604020202020204" pitchFamily="34" charset="0"/>
              <a:buNone/>
              <a:defRPr sz="1000" cap="all" baseline="0"/>
            </a:lvl1pPr>
            <a:lvl2pPr marL="1588" indent="0">
              <a:buNone/>
              <a:defRPr sz="1000" cap="all" baseline="0"/>
            </a:lvl2pPr>
            <a:lvl3pPr marL="1588" indent="0">
              <a:buNone/>
              <a:defRPr sz="1000" cap="all" baseline="0"/>
            </a:lvl3pPr>
            <a:lvl4pPr marL="1588" indent="0">
              <a:buNone/>
              <a:defRPr sz="1000" cap="all" baseline="0"/>
            </a:lvl4pPr>
            <a:lvl5pPr marL="1588" indent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40519" y="5205567"/>
            <a:ext cx="10112148" cy="504000"/>
          </a:xfrm>
        </p:spPr>
        <p:txBody>
          <a:bodyPr lIns="0" tIns="0" rIns="0" bIns="0" rtlCol="0" anchor="b"/>
          <a:lstStyle>
            <a:lvl1pPr>
              <a:defRPr sz="3200"/>
            </a:lvl1pPr>
          </a:lstStyle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40520" y="5751514"/>
            <a:ext cx="10112147" cy="360865"/>
          </a:xfrm>
        </p:spPr>
        <p:txBody>
          <a:bodyPr lIns="0" tIns="0" rIns="0" bIns="0" rtlCol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40519" y="6109996"/>
            <a:ext cx="10112937" cy="280092"/>
          </a:xfrm>
        </p:spPr>
        <p:txBody>
          <a:bodyPr lIns="0" tIns="0" rIns="0" bIns="0" rtlCol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7" name="Rectangle 16"/>
          <p:cNvSpPr/>
          <p:nvPr userDrawn="1"/>
        </p:nvSpPr>
        <p:spPr bwMode="gray">
          <a:xfrm>
            <a:off x="249357" y="4828013"/>
            <a:ext cx="55097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3200" b="1">
                <a:solidFill>
                  <a:schemeClr val="bg2"/>
                </a:solidFill>
              </a:rPr>
              <a:t>—</a:t>
            </a:r>
            <a:endParaRPr lang="en-US" sz="3200" b="1" dirty="0">
              <a:solidFill>
                <a:schemeClr val="bg2"/>
              </a:solidFill>
            </a:endParaRPr>
          </a:p>
        </p:txBody>
      </p:sp>
      <p:pic>
        <p:nvPicPr>
          <p:cNvPr id="10" name="Picture 1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79643" y="6160150"/>
            <a:ext cx="873621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6810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: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4139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368" y="1931192"/>
            <a:ext cx="115200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8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2367" y="2317637"/>
            <a:ext cx="11520000" cy="3594212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332368" y="2238495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6165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: Title (3) &amp; Content (3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3" y="1931196"/>
            <a:ext cx="9299991" cy="123194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4464" y="3235138"/>
            <a:ext cx="9298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3" y="3305949"/>
            <a:ext cx="9299991" cy="123194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3273" y="4680702"/>
            <a:ext cx="9299991" cy="123194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2554464" y="4611082"/>
            <a:ext cx="9298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1931196"/>
            <a:ext cx="1916766" cy="1231942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33264" y="3305949"/>
            <a:ext cx="1916766" cy="1231942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33264" y="4680702"/>
            <a:ext cx="1916766" cy="1231942"/>
          </a:xfrm>
        </p:spPr>
        <p:txBody>
          <a:bodyPr lIns="0" tIns="0" rIns="0" bIns="0" rtlCol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6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7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6309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: Title (3) &amp; Content (3) &amp; Bo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3" y="1931196"/>
            <a:ext cx="9299991" cy="101647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4464" y="3019668"/>
            <a:ext cx="9298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3" y="3091669"/>
            <a:ext cx="9299991" cy="101647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3273" y="4252143"/>
            <a:ext cx="9299991" cy="101647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2554464" y="4180142"/>
            <a:ext cx="9298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1931196"/>
            <a:ext cx="1916766" cy="1016472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33264" y="3091669"/>
            <a:ext cx="1916766" cy="1016472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33264" y="4252143"/>
            <a:ext cx="1916766" cy="1016472"/>
          </a:xfrm>
        </p:spPr>
        <p:txBody>
          <a:bodyPr lIns="0" tIns="0" rIns="0" bIns="0" rtlCol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332366" y="5452639"/>
            <a:ext cx="11520898" cy="460800"/>
          </a:xfrm>
          <a:solidFill>
            <a:schemeClr val="accent3"/>
          </a:solidFill>
        </p:spPr>
        <p:txBody>
          <a:bodyPr lIns="0" tIns="0" rIns="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7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8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9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74711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: Title (4) &amp; Content (4) &amp; Box /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818583" y="1931198"/>
            <a:ext cx="9034681" cy="726353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818583" y="2801554"/>
            <a:ext cx="9034681" cy="726353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818583" y="3671910"/>
            <a:ext cx="9034681" cy="726353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332367" y="5452639"/>
            <a:ext cx="11520898" cy="460800"/>
          </a:xfrm>
          <a:solidFill>
            <a:schemeClr val="accent3"/>
          </a:solidFill>
        </p:spPr>
        <p:txBody>
          <a:bodyPr lIns="0" tIns="0" rIns="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3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332582" y="1931198"/>
            <a:ext cx="1535879" cy="726353"/>
          </a:xfrm>
        </p:spPr>
        <p:txBody>
          <a:bodyPr lIns="0" tIns="0" rIns="0" bIns="0" rtlCol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5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332582" y="2801554"/>
            <a:ext cx="1535879" cy="726353"/>
          </a:xfrm>
        </p:spPr>
        <p:txBody>
          <a:bodyPr lIns="0" tIns="0" rIns="0" bIns="0" rtlCol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332582" y="3671910"/>
            <a:ext cx="1535879" cy="726353"/>
          </a:xfrm>
        </p:spPr>
        <p:txBody>
          <a:bodyPr lIns="0" tIns="0" rIns="0" bIns="0" rtlCol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2818583" y="4542265"/>
            <a:ext cx="9034681" cy="726353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quarter" idx="31"/>
          </p:nvPr>
        </p:nvSpPr>
        <p:spPr bwMode="gray">
          <a:xfrm>
            <a:off x="332582" y="4542265"/>
            <a:ext cx="1535879" cy="726353"/>
          </a:xfrm>
        </p:spPr>
        <p:txBody>
          <a:bodyPr lIns="0" tIns="0" rIns="0" bIns="0" rtlCol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39" name="Straight Connector 13"/>
          <p:cNvCxnSpPr/>
          <p:nvPr userDrawn="1"/>
        </p:nvCxnSpPr>
        <p:spPr bwMode="gray">
          <a:xfrm>
            <a:off x="1999567" y="2800986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0" name="Straight Connector 14"/>
          <p:cNvCxnSpPr/>
          <p:nvPr userDrawn="1"/>
        </p:nvCxnSpPr>
        <p:spPr bwMode="gray">
          <a:xfrm>
            <a:off x="1779054" y="3164586"/>
            <a:ext cx="220918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1" name="Straight Connector 13"/>
          <p:cNvCxnSpPr/>
          <p:nvPr userDrawn="1"/>
        </p:nvCxnSpPr>
        <p:spPr bwMode="gray">
          <a:xfrm>
            <a:off x="1999567" y="4542262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2" name="Straight Connector 14"/>
          <p:cNvCxnSpPr/>
          <p:nvPr userDrawn="1"/>
        </p:nvCxnSpPr>
        <p:spPr bwMode="gray">
          <a:xfrm>
            <a:off x="1778487" y="4905862"/>
            <a:ext cx="220918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Straight Connector 13"/>
          <p:cNvCxnSpPr/>
          <p:nvPr userDrawn="1"/>
        </p:nvCxnSpPr>
        <p:spPr bwMode="gray">
          <a:xfrm>
            <a:off x="1999567" y="1930348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Straight Connector 14"/>
          <p:cNvCxnSpPr/>
          <p:nvPr userDrawn="1"/>
        </p:nvCxnSpPr>
        <p:spPr bwMode="gray">
          <a:xfrm>
            <a:off x="1779502" y="2293948"/>
            <a:ext cx="220918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Straight Connector 13"/>
          <p:cNvCxnSpPr/>
          <p:nvPr userDrawn="1"/>
        </p:nvCxnSpPr>
        <p:spPr bwMode="gray">
          <a:xfrm>
            <a:off x="1999568" y="3671624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Straight Connector 14"/>
          <p:cNvCxnSpPr/>
          <p:nvPr userDrawn="1"/>
        </p:nvCxnSpPr>
        <p:spPr bwMode="gray">
          <a:xfrm>
            <a:off x="1778487" y="4035224"/>
            <a:ext cx="220918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2072427" y="2729549"/>
            <a:ext cx="978083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 userDrawn="1"/>
        </p:nvCxnSpPr>
        <p:spPr bwMode="gray">
          <a:xfrm>
            <a:off x="2072427" y="3599904"/>
            <a:ext cx="978083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 userDrawn="1"/>
        </p:nvCxnSpPr>
        <p:spPr bwMode="gray">
          <a:xfrm>
            <a:off x="2072427" y="4470259"/>
            <a:ext cx="978083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 userDrawn="1">
            <p:ph type="dt" sz="half" idx="32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33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34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34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5" hasCustomPrompt="1"/>
          </p:nvPr>
        </p:nvSpPr>
        <p:spPr>
          <a:xfrm>
            <a:off x="2218077" y="2100061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rtlCol="0"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 rtl="0"/>
            <a:r>
              <a:rPr lang="pt"/>
              <a:t>1</a:t>
            </a:r>
            <a:endParaRPr lang="en-GB"/>
          </a:p>
        </p:txBody>
      </p:sp>
      <p:sp>
        <p:nvSpPr>
          <p:cNvPr id="54" name="Content Placeholder 6"/>
          <p:cNvSpPr>
            <a:spLocks noGrp="1"/>
          </p:cNvSpPr>
          <p:nvPr>
            <p:ph sz="quarter" idx="36" hasCustomPrompt="1"/>
          </p:nvPr>
        </p:nvSpPr>
        <p:spPr>
          <a:xfrm>
            <a:off x="2218077" y="2971986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rtlCol="0"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 rtl="0"/>
            <a:r>
              <a:rPr lang="pt"/>
              <a:t>2</a:t>
            </a:r>
            <a:endParaRPr lang="en-GB"/>
          </a:p>
        </p:txBody>
      </p:sp>
      <p:sp>
        <p:nvSpPr>
          <p:cNvPr id="55" name="Content Placeholder 6"/>
          <p:cNvSpPr>
            <a:spLocks noGrp="1"/>
          </p:cNvSpPr>
          <p:nvPr>
            <p:ph sz="quarter" idx="37" hasCustomPrompt="1"/>
          </p:nvPr>
        </p:nvSpPr>
        <p:spPr>
          <a:xfrm>
            <a:off x="2218077" y="3843416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rtlCol="0"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 rtl="0"/>
            <a:r>
              <a:rPr lang="pt"/>
              <a:t>3</a:t>
            </a:r>
            <a:endParaRPr lang="en-GB"/>
          </a:p>
        </p:txBody>
      </p:sp>
      <p:sp>
        <p:nvSpPr>
          <p:cNvPr id="56" name="Content Placeholder 6"/>
          <p:cNvSpPr>
            <a:spLocks noGrp="1"/>
          </p:cNvSpPr>
          <p:nvPr>
            <p:ph sz="quarter" idx="38" hasCustomPrompt="1"/>
          </p:nvPr>
        </p:nvSpPr>
        <p:spPr>
          <a:xfrm>
            <a:off x="2218077" y="4708172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rtlCol="0"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 rtl="0"/>
            <a:r>
              <a:rPr lang="pt"/>
              <a:t>4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8950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: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2553272" y="1931194"/>
            <a:ext cx="2899094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27"/>
          </p:nvPr>
        </p:nvSpPr>
        <p:spPr bwMode="gray">
          <a:xfrm>
            <a:off x="5754947" y="1931194"/>
            <a:ext cx="28980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9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8955527" y="1931194"/>
            <a:ext cx="28980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2" y="2317748"/>
            <a:ext cx="2903803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3" y="3573970"/>
            <a:ext cx="2903803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3273" y="4830194"/>
            <a:ext cx="2903803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1931196"/>
            <a:ext cx="1916766" cy="1231942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33264" y="3305949"/>
            <a:ext cx="1916766" cy="1231942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33264" y="4680702"/>
            <a:ext cx="1916766" cy="1231942"/>
          </a:xfrm>
        </p:spPr>
        <p:txBody>
          <a:bodyPr lIns="0" tIns="0" rIns="0" bIns="0" rtlCol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28" name="Straight Connector 27"/>
          <p:cNvCxnSpPr/>
          <p:nvPr userDrawn="1"/>
        </p:nvCxnSpPr>
        <p:spPr bwMode="gray">
          <a:xfrm>
            <a:off x="2553272" y="2238607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 bwMode="gray">
          <a:xfrm>
            <a:off x="2550359" y="3487659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 bwMode="gray">
          <a:xfrm>
            <a:off x="2550359" y="4743881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 bwMode="gray">
          <a:xfrm>
            <a:off x="5754400" y="2238607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 bwMode="gray">
          <a:xfrm>
            <a:off x="5752943" y="3487659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 bwMode="gray">
          <a:xfrm>
            <a:off x="5752943" y="4743881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 bwMode="gray">
          <a:xfrm>
            <a:off x="8955527" y="2238607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 bwMode="gray">
          <a:xfrm>
            <a:off x="8955527" y="3487659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 bwMode="gray">
          <a:xfrm>
            <a:off x="8955527" y="4743881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3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5757301" y="2317748"/>
            <a:ext cx="2898000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44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5757302" y="3573970"/>
            <a:ext cx="2898000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45" name="Content Placeholder 3"/>
          <p:cNvSpPr>
            <a:spLocks noGrp="1"/>
          </p:cNvSpPr>
          <p:nvPr>
            <p:ph sz="quarter" idx="31"/>
          </p:nvPr>
        </p:nvSpPr>
        <p:spPr bwMode="gray">
          <a:xfrm>
            <a:off x="5757302" y="4830194"/>
            <a:ext cx="2898000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46" name="Content Placeholder 3"/>
          <p:cNvSpPr>
            <a:spLocks noGrp="1"/>
          </p:cNvSpPr>
          <p:nvPr>
            <p:ph sz="quarter" idx="32"/>
          </p:nvPr>
        </p:nvSpPr>
        <p:spPr bwMode="gray">
          <a:xfrm>
            <a:off x="8955527" y="2317748"/>
            <a:ext cx="2898000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47" name="Content Placeholder 3"/>
          <p:cNvSpPr>
            <a:spLocks noGrp="1"/>
          </p:cNvSpPr>
          <p:nvPr>
            <p:ph sz="quarter" idx="33"/>
          </p:nvPr>
        </p:nvSpPr>
        <p:spPr bwMode="gray">
          <a:xfrm>
            <a:off x="8955527" y="3573970"/>
            <a:ext cx="2898000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48" name="Content Placeholder 3"/>
          <p:cNvSpPr>
            <a:spLocks noGrp="1"/>
          </p:cNvSpPr>
          <p:nvPr>
            <p:ph sz="quarter" idx="34"/>
          </p:nvPr>
        </p:nvSpPr>
        <p:spPr bwMode="gray">
          <a:xfrm>
            <a:off x="8955527" y="4830194"/>
            <a:ext cx="2898000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35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6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7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4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25451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: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945"/>
            <a:ext cx="3643200" cy="360000"/>
          </a:xfrm>
          <a:prstGeom prst="homePlate">
            <a:avLst/>
          </a:prstGeom>
          <a:solidFill>
            <a:schemeClr val="accent4"/>
          </a:solidFill>
        </p:spPr>
        <p:txBody>
          <a:bodyPr lIns="28800" tIns="0" rIns="2880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945"/>
            <a:ext cx="3643200" cy="360000"/>
          </a:xfrm>
          <a:prstGeom prst="chevron">
            <a:avLst/>
          </a:prstGeom>
          <a:solidFill>
            <a:schemeClr val="accent4"/>
          </a:solidFill>
        </p:spPr>
        <p:txBody>
          <a:bodyPr lIns="28800" tIns="0" rIns="2880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945"/>
            <a:ext cx="3643200" cy="360000"/>
          </a:xfrm>
          <a:prstGeom prst="chevron">
            <a:avLst/>
          </a:prstGeom>
          <a:solidFill>
            <a:schemeClr val="accent4"/>
          </a:solidFill>
        </p:spPr>
        <p:txBody>
          <a:bodyPr lIns="28800" tIns="0" rIns="2880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</p:spPr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402146"/>
            <a:ext cx="3643200" cy="351129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2402146"/>
            <a:ext cx="3643200" cy="351129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402146"/>
            <a:ext cx="3643200" cy="351129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27" name="Straight Connector 26"/>
          <p:cNvCxnSpPr/>
          <p:nvPr userDrawn="1"/>
        </p:nvCxnSpPr>
        <p:spPr bwMode="gray">
          <a:xfrm>
            <a:off x="4124130" y="2473348"/>
            <a:ext cx="0" cy="344009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 bwMode="gray">
          <a:xfrm>
            <a:off x="8062662" y="2473348"/>
            <a:ext cx="0" cy="344009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72528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2: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 bwMode="gray">
          <a:xfrm>
            <a:off x="2" y="0"/>
            <a:ext cx="12192000" cy="6858000"/>
          </a:xfrm>
          <a:custGeom>
            <a:avLst/>
            <a:gdLst>
              <a:gd name="connsiteX0" fmla="*/ 334746 w 12192000"/>
              <a:gd name="connsiteY0" fmla="*/ 530044 h 6858000"/>
              <a:gd name="connsiteX1" fmla="*/ 334746 w 12192000"/>
              <a:gd name="connsiteY1" fmla="*/ 558844 h 6858000"/>
              <a:gd name="connsiteX2" fmla="*/ 561546 w 12192000"/>
              <a:gd name="connsiteY2" fmla="*/ 558844 h 6858000"/>
              <a:gd name="connsiteX3" fmla="*/ 561546 w 12192000"/>
              <a:gd name="connsiteY3" fmla="*/ 53004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4746" y="530044"/>
                </a:moveTo>
                <a:lnTo>
                  <a:pt x="334746" y="558844"/>
                </a:lnTo>
                <a:lnTo>
                  <a:pt x="561546" y="558844"/>
                </a:lnTo>
                <a:lnTo>
                  <a:pt x="561546" y="53004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rtlCol="0">
            <a:noAutofit/>
          </a:bodyPr>
          <a:lstStyle/>
          <a:p>
            <a:pPr rtl="0"/>
            <a:r>
              <a:rPr lang="pt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2366" y="622788"/>
            <a:ext cx="11520898" cy="396000"/>
          </a:xfrm>
        </p:spPr>
        <p:txBody>
          <a:bodyPr rtlCol="0"/>
          <a:lstStyle>
            <a:lvl1pPr>
              <a:defRPr sz="1800"/>
            </a:lvl1pPr>
          </a:lstStyle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gray"/>
        <p:txBody>
          <a:bodyPr rtlCol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 rtl="0"/>
            <a:r>
              <a:rPr lang="pt"/>
              <a:t>March 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gray"/>
        <p:txBody>
          <a:bodyPr rtlCol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 rtl="0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gray"/>
        <p:txBody>
          <a:bodyPr rtlCol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242214" y="447781"/>
            <a:ext cx="55097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1800" b="1">
                <a:solidFill>
                  <a:srgbClr val="FF0000"/>
                </a:solidFill>
              </a:rPr>
              <a:t>—</a:t>
            </a:r>
            <a:endParaRPr lang="en-US" sz="1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0723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50957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4: 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pic>
        <p:nvPicPr>
          <p:cNvPr id="7" name="Picture 19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47616" y="2793573"/>
            <a:ext cx="3296776" cy="1264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0001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ascination_10: Title + 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xmlns="" id="{08EBD8B0-311D-4AB7-ABE1-8A67D00BC9A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5" y="2708275"/>
            <a:ext cx="2519663" cy="3529013"/>
          </a:xfrm>
        </p:spPr>
        <p:txBody>
          <a:bodyPr rtlCol="0" anchor="t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xmlns="" id="{DFFA9611-85BA-4959-91F3-F2762794629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60107" y="2708275"/>
            <a:ext cx="2519663" cy="3529013"/>
          </a:xfrm>
        </p:spPr>
        <p:txBody>
          <a:bodyPr rtlCol="0" anchor="t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xmlns="" id="{0F2CADBF-8104-4F08-BF7B-1091CC83A3C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12229" y="2708275"/>
            <a:ext cx="2519663" cy="3529013"/>
          </a:xfrm>
        </p:spPr>
        <p:txBody>
          <a:bodyPr rtlCol="0" anchor="t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xmlns="" id="{CB322BA7-057A-4F30-8C93-9F240B5793F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64350" y="2708275"/>
            <a:ext cx="2519663" cy="3529013"/>
          </a:xfrm>
        </p:spPr>
        <p:txBody>
          <a:bodyPr rtlCol="0" anchor="t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C209661C-7A32-45A7-88F7-9757026733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6913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 bwMode="gray">
          <a:xfrm>
            <a:off x="334963" y="365752"/>
            <a:ext cx="1528942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40519" y="5000633"/>
            <a:ext cx="10112937" cy="224432"/>
          </a:xfrm>
        </p:spPr>
        <p:txBody>
          <a:bodyPr lIns="0" tIns="0" rIns="0" bIns="0" rtlCol="0" anchor="b"/>
          <a:lstStyle>
            <a:lvl1pPr marL="1588" indent="0">
              <a:buFont typeface="Arial" panose="020B0604020202020204" pitchFamily="34" charset="0"/>
              <a:buNone/>
              <a:defRPr sz="1000" cap="all" baseline="0"/>
            </a:lvl1pPr>
            <a:lvl2pPr marL="1588" indent="0">
              <a:buNone/>
              <a:defRPr sz="1000" cap="all" baseline="0"/>
            </a:lvl2pPr>
            <a:lvl3pPr marL="1588" indent="0">
              <a:buNone/>
              <a:defRPr sz="1000" cap="all" baseline="0"/>
            </a:lvl3pPr>
            <a:lvl4pPr marL="1588" indent="0">
              <a:buNone/>
              <a:defRPr sz="1000" cap="all" baseline="0"/>
            </a:lvl4pPr>
            <a:lvl5pPr marL="1588" indent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40519" y="5205567"/>
            <a:ext cx="10112148" cy="504000"/>
          </a:xfrm>
        </p:spPr>
        <p:txBody>
          <a:bodyPr lIns="0" tIns="0" rIns="0" bIns="0" rtlCol="0" anchor="b"/>
          <a:lstStyle>
            <a:lvl1pPr>
              <a:defRPr sz="3200"/>
            </a:lvl1pPr>
          </a:lstStyle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40520" y="5751514"/>
            <a:ext cx="10112147" cy="360865"/>
          </a:xfrm>
        </p:spPr>
        <p:txBody>
          <a:bodyPr lIns="0" tIns="0" rIns="0" bIns="0" rtlCol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40519" y="6109996"/>
            <a:ext cx="10112937" cy="280092"/>
          </a:xfrm>
        </p:spPr>
        <p:txBody>
          <a:bodyPr lIns="0" tIns="0" rIns="0" bIns="0" rtlCol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7" name="Rectangle 16"/>
          <p:cNvSpPr/>
          <p:nvPr userDrawn="1"/>
        </p:nvSpPr>
        <p:spPr bwMode="gray">
          <a:xfrm>
            <a:off x="249357" y="4828013"/>
            <a:ext cx="55097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3200" b="1">
                <a:solidFill>
                  <a:schemeClr val="bg2"/>
                </a:solidFill>
              </a:rPr>
              <a:t>—</a:t>
            </a:r>
            <a:endParaRPr lang="en-US" sz="3200" b="1" dirty="0">
              <a:solidFill>
                <a:schemeClr val="bg2"/>
              </a:solidFill>
            </a:endParaRPr>
          </a:p>
        </p:txBody>
      </p:sp>
      <p:pic>
        <p:nvPicPr>
          <p:cNvPr id="10" name="Picture 1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79643" y="6160150"/>
            <a:ext cx="873621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7047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: Title (5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2716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2100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2716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82100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9"/>
          </p:nvPr>
        </p:nvSpPr>
        <p:spPr bwMode="gray">
          <a:xfrm>
            <a:off x="333264" y="4103378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333264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4271664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>
            <a:off x="8210064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Text Placeholder 11"/>
          <p:cNvSpPr>
            <a:spLocks noGrp="1"/>
          </p:cNvSpPr>
          <p:nvPr>
            <p:ph type="body" sz="quarter" idx="20"/>
          </p:nvPr>
        </p:nvSpPr>
        <p:spPr bwMode="gray">
          <a:xfrm>
            <a:off x="4271664" y="4103378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1"/>
          </p:nvPr>
        </p:nvSpPr>
        <p:spPr bwMode="gray">
          <a:xfrm>
            <a:off x="8210064" y="4103378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3" y="1931195"/>
            <a:ext cx="3643200" cy="1809264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4271664" y="2317641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8210064" y="2317641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26"/>
          </p:nvPr>
        </p:nvSpPr>
        <p:spPr bwMode="gray">
          <a:xfrm>
            <a:off x="333263" y="4489826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4271664" y="4489826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8210064" y="4489826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2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30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: 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Placeholder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" y="0"/>
            <a:ext cx="12192000" cy="4610100"/>
          </a:xfrm>
          <a:prstGeom prst="rect">
            <a:avLst/>
          </a:prstGeom>
        </p:spPr>
      </p:pic>
      <p:sp>
        <p:nvSpPr>
          <p:cNvPr id="22" name="Text Placeholder 5"/>
          <p:cNvSpPr>
            <a:spLocks noGrp="1"/>
          </p:cNvSpPr>
          <p:nvPr>
            <p:ph type="body" sz="quarter" idx="16"/>
          </p:nvPr>
        </p:nvSpPr>
        <p:spPr bwMode="gray">
          <a:xfrm>
            <a:off x="335757" y="365752"/>
            <a:ext cx="1528942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40519" y="5000633"/>
            <a:ext cx="10112937" cy="224432"/>
          </a:xfrm>
        </p:spPr>
        <p:txBody>
          <a:bodyPr lIns="0" tIns="0" rIns="0" bIns="0" rtlCol="0" anchor="b"/>
          <a:lstStyle>
            <a:lvl1pPr marL="1588" indent="0">
              <a:buFont typeface="Arial" panose="020B0604020202020204" pitchFamily="34" charset="0"/>
              <a:buNone/>
              <a:defRPr sz="1000" cap="all" baseline="0"/>
            </a:lvl1pPr>
            <a:lvl2pPr marL="1588" indent="0">
              <a:buNone/>
              <a:defRPr sz="1000" cap="all" baseline="0"/>
            </a:lvl2pPr>
            <a:lvl3pPr marL="1588" indent="0">
              <a:buNone/>
              <a:defRPr sz="1000" cap="all" baseline="0"/>
            </a:lvl3pPr>
            <a:lvl4pPr marL="1588" indent="0">
              <a:buNone/>
              <a:defRPr sz="1000" cap="all" baseline="0"/>
            </a:lvl4pPr>
            <a:lvl5pPr marL="1588" indent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340519" y="5205566"/>
            <a:ext cx="10112148" cy="504001"/>
          </a:xfrm>
        </p:spPr>
        <p:txBody>
          <a:bodyPr lIns="0" tIns="0" rIns="0" bIns="0" rtlCol="0" anchor="b"/>
          <a:lstStyle>
            <a:lvl1pPr>
              <a:defRPr sz="3200"/>
            </a:lvl1pPr>
          </a:lstStyle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 bwMode="gray">
          <a:xfrm>
            <a:off x="340519" y="5751514"/>
            <a:ext cx="10112147" cy="360865"/>
          </a:xfrm>
        </p:spPr>
        <p:txBody>
          <a:bodyPr lIns="0" tIns="0" rIns="0" bIns="0" rtlCol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40519" y="6109996"/>
            <a:ext cx="10112937" cy="280092"/>
          </a:xfrm>
        </p:spPr>
        <p:txBody>
          <a:bodyPr lIns="0" tIns="0" rIns="0" bIns="0" rtlCol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249357" y="4828013"/>
            <a:ext cx="55097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3200" b="1">
                <a:solidFill>
                  <a:schemeClr val="bg2"/>
                </a:solidFill>
              </a:rPr>
              <a:t>—</a:t>
            </a:r>
            <a:endParaRPr lang="en-US" sz="3200" b="1" dirty="0">
              <a:solidFill>
                <a:schemeClr val="bg2"/>
              </a:solidFill>
            </a:endParaRPr>
          </a:p>
        </p:txBody>
      </p:sp>
      <p:pic>
        <p:nvPicPr>
          <p:cNvPr id="14" name="Picture 1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79643" y="6160150"/>
            <a:ext cx="873621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4798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: 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2" y="0"/>
            <a:ext cx="12192000" cy="4610100"/>
          </a:xfrm>
        </p:spPr>
        <p:txBody>
          <a:bodyPr rtlCol="0"/>
          <a:lstStyle/>
          <a:p>
            <a:pPr rtl="0"/>
            <a:r>
              <a:rPr lang="pt"/>
              <a:t>Click icon to add pictur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6"/>
          </p:nvPr>
        </p:nvSpPr>
        <p:spPr bwMode="gray">
          <a:xfrm>
            <a:off x="334963" y="365752"/>
            <a:ext cx="1528942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40519" y="5000633"/>
            <a:ext cx="10112937" cy="224432"/>
          </a:xfrm>
        </p:spPr>
        <p:txBody>
          <a:bodyPr lIns="0" tIns="0" rIns="0" bIns="0" rtlCol="0" anchor="b"/>
          <a:lstStyle>
            <a:lvl1pPr marL="1588" indent="0">
              <a:buFont typeface="Arial" panose="020B0604020202020204" pitchFamily="34" charset="0"/>
              <a:buNone/>
              <a:defRPr sz="1000" cap="all" baseline="0"/>
            </a:lvl1pPr>
            <a:lvl2pPr marL="1588" indent="0">
              <a:buNone/>
              <a:defRPr sz="1000" cap="all" baseline="0"/>
            </a:lvl2pPr>
            <a:lvl3pPr marL="1588" indent="0">
              <a:buNone/>
              <a:defRPr sz="1000" cap="all" baseline="0"/>
            </a:lvl3pPr>
            <a:lvl4pPr marL="1588" indent="0">
              <a:buNone/>
              <a:defRPr sz="1000" cap="all" baseline="0"/>
            </a:lvl4pPr>
            <a:lvl5pPr marL="1588" indent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340519" y="5205566"/>
            <a:ext cx="10112148" cy="504001"/>
          </a:xfrm>
        </p:spPr>
        <p:txBody>
          <a:bodyPr lIns="0" tIns="0" rIns="0" bIns="0" rtlCol="0" anchor="b"/>
          <a:lstStyle>
            <a:lvl1pPr>
              <a:defRPr sz="3200"/>
            </a:lvl1pPr>
          </a:lstStyle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 bwMode="gray">
          <a:xfrm>
            <a:off x="340519" y="5751514"/>
            <a:ext cx="10112147" cy="360865"/>
          </a:xfrm>
        </p:spPr>
        <p:txBody>
          <a:bodyPr lIns="0" tIns="0" rIns="0" bIns="0" rtlCol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40519" y="6109996"/>
            <a:ext cx="10112937" cy="280092"/>
          </a:xfrm>
        </p:spPr>
        <p:txBody>
          <a:bodyPr lIns="0" tIns="0" rIns="0" bIns="0" rtlCol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249357" y="4828013"/>
            <a:ext cx="55097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3200" b="1">
                <a:solidFill>
                  <a:schemeClr val="bg2"/>
                </a:solidFill>
              </a:rPr>
              <a:t>—</a:t>
            </a:r>
            <a:endParaRPr lang="en-US" sz="3200" b="1" dirty="0">
              <a:solidFill>
                <a:schemeClr val="bg2"/>
              </a:solidFill>
            </a:endParaRPr>
          </a:p>
        </p:txBody>
      </p:sp>
      <p:pic>
        <p:nvPicPr>
          <p:cNvPr id="14" name="Picture 19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79643" y="6160150"/>
            <a:ext cx="873621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8751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: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8845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F54DE7E8-58C9-4B5A-B686-53E1B76B68C9}"/>
              </a:ext>
            </a:extLst>
          </p:cNvPr>
          <p:cNvSpPr/>
          <p:nvPr userDrawn="1"/>
        </p:nvSpPr>
        <p:spPr bwMode="gray">
          <a:xfrm>
            <a:off x="244800" y="414450"/>
            <a:ext cx="413300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3200" b="1">
                <a:solidFill>
                  <a:schemeClr val="bg1"/>
                </a:solidFill>
              </a:rPr>
              <a:t>—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26BA06A1-F808-4CBA-9D28-8D357F795D4C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5756" y="718060"/>
            <a:ext cx="11521282" cy="504000"/>
          </a:xfrm>
        </p:spPr>
        <p:txBody>
          <a:bodyPr lIns="0" tIns="0" rIns="0" bIns="0" rtlCol="0"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xmlns="" id="{F7CD425E-9028-4049-A9A0-DC6F9DF08061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5757" y="1264007"/>
            <a:ext cx="11521281" cy="360865"/>
          </a:xfrm>
        </p:spPr>
        <p:txBody>
          <a:bodyPr lIns="0" tIns="0" rIns="0" bIns="0" rtlCol="0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865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: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gray">
          <a:xfrm>
            <a:off x="2" y="0"/>
            <a:ext cx="12192000" cy="6858000"/>
          </a:xfrm>
          <a:prstGeom prst="rect">
            <a:avLst/>
          </a:prstGeom>
          <a:solidFill>
            <a:srgbClr val="FF000F"/>
          </a:solidFill>
          <a:ln w="25400" cap="flat" cmpd="sng" algn="ctr">
            <a:noFill/>
            <a:prstDash val="solid"/>
          </a:ln>
          <a:effectLst/>
        </p:spPr>
        <p:txBody>
          <a:bodyPr lIns="72009" tIns="72009" rIns="72009" bIns="72009" rtlCol="0" anchor="ctr"/>
          <a:lstStyle/>
          <a:p>
            <a:pPr marL="0" marR="0" lvl="0" indent="0" algn="ctr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94A90620-6E53-42BB-807B-70CAD0710CDD}"/>
              </a:ext>
            </a:extLst>
          </p:cNvPr>
          <p:cNvSpPr/>
          <p:nvPr userDrawn="1"/>
        </p:nvSpPr>
        <p:spPr bwMode="gray">
          <a:xfrm>
            <a:off x="244800" y="414450"/>
            <a:ext cx="413300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3200" b="1">
                <a:solidFill>
                  <a:schemeClr val="bg1"/>
                </a:solidFill>
              </a:rPr>
              <a:t>—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6B34BC21-AFED-46B1-8268-92A7B5BBDEE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5756" y="718060"/>
            <a:ext cx="11521282" cy="504000"/>
          </a:xfrm>
        </p:spPr>
        <p:txBody>
          <a:bodyPr lIns="0" tIns="0" rIns="0" bIns="0" rtlCol="0"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0C1FE702-2A26-4886-8C77-E6510DB1849C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5757" y="1264007"/>
            <a:ext cx="11521281" cy="360865"/>
          </a:xfrm>
        </p:spPr>
        <p:txBody>
          <a:bodyPr lIns="0" tIns="0" rIns="0" bIns="0" rtlCol="0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826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: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06884551-BCA1-4427-92BF-DB5CAA0DDF08}"/>
              </a:ext>
            </a:extLst>
          </p:cNvPr>
          <p:cNvSpPr/>
          <p:nvPr userDrawn="1"/>
        </p:nvSpPr>
        <p:spPr bwMode="gray">
          <a:xfrm>
            <a:off x="244800" y="414450"/>
            <a:ext cx="413300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3200" b="1">
                <a:solidFill>
                  <a:schemeClr val="bg2"/>
                </a:solidFill>
              </a:rPr>
              <a:t>—</a:t>
            </a:r>
            <a:endParaRPr lang="en-US" sz="3200" b="1" dirty="0">
              <a:solidFill>
                <a:schemeClr val="bg2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xmlns="" id="{FAC380CA-95DB-45F2-99D5-3A1E2DF54CD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5756" y="718060"/>
            <a:ext cx="11521282" cy="504000"/>
          </a:xfrm>
        </p:spPr>
        <p:txBody>
          <a:bodyPr lIns="0" tIns="0" rIns="0" bIns="0" rtlCol="0"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EE182003-2699-4135-A685-461A4D33947D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5757" y="1264007"/>
            <a:ext cx="11521281" cy="360865"/>
          </a:xfrm>
        </p:spPr>
        <p:txBody>
          <a:bodyPr lIns="0" tIns="0" rIns="0" bIns="0" rtlCol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868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: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 bwMode="gray">
          <a:xfrm>
            <a:off x="332367" y="1931197"/>
            <a:ext cx="11520897" cy="3980439"/>
          </a:xfrm>
        </p:spPr>
        <p:txBody>
          <a:bodyPr rtlCol="0"/>
          <a:lstStyle>
            <a:lvl1pPr>
              <a:spcBef>
                <a:spcPts val="900"/>
              </a:spcBef>
              <a:defRPr sz="2000"/>
            </a:lvl1pPr>
            <a:lvl2pPr marL="0" indent="0">
              <a:spcBef>
                <a:spcPts val="90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3pPr>
            <a:lvl4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4pPr>
            <a:lvl5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5pPr>
            <a:lvl6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6pPr>
            <a:lvl7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7pPr>
            <a:lvl8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8pPr>
            <a:lvl9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51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: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21"/>
          </p:nvPr>
        </p:nvSpPr>
        <p:spPr bwMode="gray">
          <a:xfrm>
            <a:off x="332367" y="1931197"/>
            <a:ext cx="11520000" cy="3982245"/>
          </a:xfrm>
        </p:spPr>
        <p:txBody>
          <a:bodyPr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</p:spPr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553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: Content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21"/>
          </p:nvPr>
        </p:nvSpPr>
        <p:spPr bwMode="gray">
          <a:xfrm>
            <a:off x="332367" y="1931195"/>
            <a:ext cx="11520000" cy="3430994"/>
          </a:xfrm>
        </p:spPr>
        <p:txBody>
          <a:bodyPr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</p:spPr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2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362" y="5453066"/>
            <a:ext cx="11520000" cy="460375"/>
          </a:xfrm>
          <a:solidFill>
            <a:schemeClr val="accent3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982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: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4139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368" y="1931192"/>
            <a:ext cx="115200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8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2367" y="2317637"/>
            <a:ext cx="11520000" cy="3594212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332368" y="2238495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8060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: Title (5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2716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2100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2716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82100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9"/>
          </p:nvPr>
        </p:nvSpPr>
        <p:spPr bwMode="gray">
          <a:xfrm>
            <a:off x="333264" y="4103378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333264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4271664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>
            <a:off x="8210064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Text Placeholder 11"/>
          <p:cNvSpPr>
            <a:spLocks noGrp="1"/>
          </p:cNvSpPr>
          <p:nvPr>
            <p:ph type="body" sz="quarter" idx="20"/>
          </p:nvPr>
        </p:nvSpPr>
        <p:spPr bwMode="gray">
          <a:xfrm>
            <a:off x="4271664" y="4103378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1"/>
          </p:nvPr>
        </p:nvSpPr>
        <p:spPr bwMode="gray">
          <a:xfrm>
            <a:off x="8210064" y="4103378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3" y="1931195"/>
            <a:ext cx="3643200" cy="180926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4271664" y="2317641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8210064" y="2317641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26"/>
          </p:nvPr>
        </p:nvSpPr>
        <p:spPr bwMode="gray">
          <a:xfrm>
            <a:off x="333263" y="4489826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4271664" y="4489826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8210064" y="4489826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2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976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: Title (6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4271796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210327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271796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9"/>
          </p:nvPr>
        </p:nvSpPr>
        <p:spPr bwMode="gray">
          <a:xfrm>
            <a:off x="333264" y="4103378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333264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4271795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>
            <a:off x="8210327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Text Placeholder 11"/>
          <p:cNvSpPr>
            <a:spLocks noGrp="1"/>
          </p:cNvSpPr>
          <p:nvPr>
            <p:ph type="body" sz="quarter" idx="20"/>
          </p:nvPr>
        </p:nvSpPr>
        <p:spPr bwMode="gray">
          <a:xfrm>
            <a:off x="4271796" y="4103378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1"/>
          </p:nvPr>
        </p:nvSpPr>
        <p:spPr bwMode="gray">
          <a:xfrm>
            <a:off x="8210327" y="4103378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41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4271795" y="2317641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8210327" y="2317641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26"/>
          </p:nvPr>
        </p:nvSpPr>
        <p:spPr bwMode="gray">
          <a:xfrm>
            <a:off x="333264" y="4489826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4271796" y="4489826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8210327" y="4489826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2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95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: Title (6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4271796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210327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271796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9"/>
          </p:nvPr>
        </p:nvSpPr>
        <p:spPr bwMode="gray">
          <a:xfrm>
            <a:off x="333264" y="4103378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333264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4271795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>
            <a:off x="8210327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Text Placeholder 11"/>
          <p:cNvSpPr>
            <a:spLocks noGrp="1"/>
          </p:cNvSpPr>
          <p:nvPr>
            <p:ph type="body" sz="quarter" idx="20"/>
          </p:nvPr>
        </p:nvSpPr>
        <p:spPr bwMode="gray">
          <a:xfrm>
            <a:off x="4271796" y="4103378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1"/>
          </p:nvPr>
        </p:nvSpPr>
        <p:spPr bwMode="gray">
          <a:xfrm>
            <a:off x="8210327" y="4103378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41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4271795" y="2317641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8210327" y="2317641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26"/>
          </p:nvPr>
        </p:nvSpPr>
        <p:spPr bwMode="gray">
          <a:xfrm>
            <a:off x="333264" y="4489826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4271796" y="4489826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8210327" y="4489826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2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889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: Title &amp; Content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1492" y="1931193"/>
            <a:ext cx="115200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3" name="Content Placeholder 32"/>
          <p:cNvSpPr>
            <a:spLocks noGrp="1"/>
          </p:cNvSpPr>
          <p:nvPr>
            <p:ph sz="quarter" idx="25"/>
          </p:nvPr>
        </p:nvSpPr>
        <p:spPr bwMode="gray">
          <a:xfrm>
            <a:off x="333264" y="2317637"/>
            <a:ext cx="1739026" cy="1710000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Content Placeholder 32"/>
          <p:cNvSpPr>
            <a:spLocks noGrp="1"/>
          </p:cNvSpPr>
          <p:nvPr>
            <p:ph sz="quarter" idx="26"/>
          </p:nvPr>
        </p:nvSpPr>
        <p:spPr bwMode="gray">
          <a:xfrm>
            <a:off x="333264" y="4202644"/>
            <a:ext cx="1739026" cy="1710000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Content Placeholder 32"/>
          <p:cNvSpPr>
            <a:spLocks noGrp="1"/>
          </p:cNvSpPr>
          <p:nvPr>
            <p:ph sz="quarter" idx="27"/>
          </p:nvPr>
        </p:nvSpPr>
        <p:spPr bwMode="gray">
          <a:xfrm>
            <a:off x="6163300" y="2317637"/>
            <a:ext cx="1739026" cy="1710000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32"/>
          <p:cNvSpPr>
            <a:spLocks noGrp="1"/>
          </p:cNvSpPr>
          <p:nvPr>
            <p:ph sz="quarter" idx="28"/>
          </p:nvPr>
        </p:nvSpPr>
        <p:spPr bwMode="gray">
          <a:xfrm>
            <a:off x="6163300" y="4202644"/>
            <a:ext cx="1739026" cy="1710000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8"/>
          </p:nvPr>
        </p:nvSpPr>
        <p:spPr bwMode="gray">
          <a:xfrm>
            <a:off x="2259472" y="2317637"/>
            <a:ext cx="3757689" cy="17100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259472" y="4202644"/>
            <a:ext cx="3757689" cy="1710000"/>
          </a:xfrm>
        </p:spPr>
        <p:txBody>
          <a:bodyPr lIns="0" tIns="0" rIns="0" bIns="0"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8093952" y="2317637"/>
            <a:ext cx="3759312" cy="17100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8093952" y="4202644"/>
            <a:ext cx="3759312" cy="1710000"/>
          </a:xfrm>
        </p:spPr>
        <p:txBody>
          <a:bodyPr lIns="0" tIns="0" rIns="0" bIns="0"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4" name="Straight Connector 23"/>
          <p:cNvCxnSpPr/>
          <p:nvPr userDrawn="1"/>
        </p:nvCxnSpPr>
        <p:spPr bwMode="gray">
          <a:xfrm>
            <a:off x="332368" y="2238495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 bwMode="gray">
          <a:xfrm>
            <a:off x="332368" y="4115141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9107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: Title &amp; Content (8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</p:spPr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115200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3" name="Content Placeholder 32"/>
          <p:cNvSpPr>
            <a:spLocks noGrp="1"/>
          </p:cNvSpPr>
          <p:nvPr>
            <p:ph sz="quarter" idx="25"/>
          </p:nvPr>
        </p:nvSpPr>
        <p:spPr bwMode="gray">
          <a:xfrm>
            <a:off x="332367" y="2317637"/>
            <a:ext cx="1739026" cy="1436400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Content Placeholder 32"/>
          <p:cNvSpPr>
            <a:spLocks noGrp="1"/>
          </p:cNvSpPr>
          <p:nvPr>
            <p:ph sz="quarter" idx="26"/>
          </p:nvPr>
        </p:nvSpPr>
        <p:spPr bwMode="gray">
          <a:xfrm>
            <a:off x="332367" y="3925788"/>
            <a:ext cx="1739026" cy="1436400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Content Placeholder 32"/>
          <p:cNvSpPr>
            <a:spLocks noGrp="1"/>
          </p:cNvSpPr>
          <p:nvPr>
            <p:ph sz="quarter" idx="27"/>
          </p:nvPr>
        </p:nvSpPr>
        <p:spPr bwMode="gray">
          <a:xfrm>
            <a:off x="6163300" y="2317636"/>
            <a:ext cx="1739026" cy="1436400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32"/>
          <p:cNvSpPr>
            <a:spLocks noGrp="1"/>
          </p:cNvSpPr>
          <p:nvPr>
            <p:ph sz="quarter" idx="28"/>
          </p:nvPr>
        </p:nvSpPr>
        <p:spPr bwMode="gray">
          <a:xfrm>
            <a:off x="6163300" y="3925788"/>
            <a:ext cx="1739026" cy="1436400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8"/>
          </p:nvPr>
        </p:nvSpPr>
        <p:spPr bwMode="gray">
          <a:xfrm>
            <a:off x="2260482" y="2317636"/>
            <a:ext cx="3757436" cy="14364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260482" y="3925788"/>
            <a:ext cx="3757436" cy="1436400"/>
          </a:xfrm>
        </p:spPr>
        <p:txBody>
          <a:bodyPr lIns="0" tIns="0" rIns="0" bIns="0"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8093953" y="2317636"/>
            <a:ext cx="3759312" cy="14364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8093953" y="3925788"/>
            <a:ext cx="3759312" cy="1436400"/>
          </a:xfrm>
        </p:spPr>
        <p:txBody>
          <a:bodyPr lIns="0" tIns="0" rIns="0" bIns="0"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3264" y="5453066"/>
            <a:ext cx="11520000" cy="460375"/>
          </a:xfrm>
          <a:solidFill>
            <a:schemeClr val="accent3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332368" y="2238495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 bwMode="gray">
          <a:xfrm>
            <a:off x="332368" y="3839912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8741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9107" y="1931194"/>
            <a:ext cx="5604420" cy="398091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7" y="1931194"/>
            <a:ext cx="5603434" cy="398091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6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6341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: Content (2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9107" y="1931194"/>
            <a:ext cx="5604420" cy="3430994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7" y="1931194"/>
            <a:ext cx="5603434" cy="343099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1931194"/>
            <a:ext cx="0" cy="343099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368" y="5453066"/>
            <a:ext cx="11520896" cy="460375"/>
          </a:xfrm>
          <a:solidFill>
            <a:schemeClr val="accent3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675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: Title (2) &amp;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435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435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8327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327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9107" y="2317638"/>
            <a:ext cx="5604420" cy="3594474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7" y="2317638"/>
            <a:ext cx="5603434" cy="359447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2759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: Title (2) &amp; Content (2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365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2365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8327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327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327" y="2317638"/>
            <a:ext cx="5605200" cy="295097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5" y="2317638"/>
            <a:ext cx="5605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95999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583" y="5453066"/>
            <a:ext cx="11520682" cy="460375"/>
          </a:xfrm>
          <a:solidFill>
            <a:schemeClr val="accent3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7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455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: Title (2) &amp; Content (2)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64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3754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044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044" y="2317638"/>
            <a:ext cx="5605200" cy="3594474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4" y="2317638"/>
            <a:ext cx="5605200" cy="359447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Gleichschenkliges Dreieck 46"/>
          <p:cNvSpPr/>
          <p:nvPr userDrawn="1"/>
        </p:nvSpPr>
        <p:spPr bwMode="gray">
          <a:xfrm rot="5400000">
            <a:off x="4334900" y="4088006"/>
            <a:ext cx="3523271" cy="124946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16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7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488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: Title (2) &amp; Content (2) &amp; Box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leichschenkliges Dreieck 46"/>
          <p:cNvSpPr/>
          <p:nvPr userDrawn="1"/>
        </p:nvSpPr>
        <p:spPr bwMode="gray">
          <a:xfrm rot="5400000">
            <a:off x="4656514" y="3766499"/>
            <a:ext cx="2879662" cy="124579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64" y="2238606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3754" y="2238606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045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045" y="2317751"/>
            <a:ext cx="5605200" cy="2950867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4" y="2317751"/>
            <a:ext cx="5605200" cy="2950867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367" y="5453066"/>
            <a:ext cx="11521160" cy="460375"/>
          </a:xfrm>
          <a:solidFill>
            <a:schemeClr val="accent3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116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146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: Title &amp;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2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64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045" y="1931195"/>
            <a:ext cx="5605200" cy="398091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4" y="2317640"/>
            <a:ext cx="5605200" cy="3594475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4" name="Straight Connector 23"/>
          <p:cNvCxnSpPr/>
          <p:nvPr userDrawn="1"/>
        </p:nvCxnSpPr>
        <p:spPr bwMode="gray">
          <a:xfrm>
            <a:off x="6095999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5142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: Title &amp; Content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1492" y="1931193"/>
            <a:ext cx="115200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3" name="Content Placeholder 32"/>
          <p:cNvSpPr>
            <a:spLocks noGrp="1"/>
          </p:cNvSpPr>
          <p:nvPr>
            <p:ph sz="quarter" idx="25"/>
          </p:nvPr>
        </p:nvSpPr>
        <p:spPr bwMode="gray">
          <a:xfrm>
            <a:off x="333264" y="2317637"/>
            <a:ext cx="1739026" cy="1710000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Content Placeholder 32"/>
          <p:cNvSpPr>
            <a:spLocks noGrp="1"/>
          </p:cNvSpPr>
          <p:nvPr>
            <p:ph sz="quarter" idx="26"/>
          </p:nvPr>
        </p:nvSpPr>
        <p:spPr bwMode="gray">
          <a:xfrm>
            <a:off x="333264" y="4202644"/>
            <a:ext cx="1739026" cy="1710000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Content Placeholder 32"/>
          <p:cNvSpPr>
            <a:spLocks noGrp="1"/>
          </p:cNvSpPr>
          <p:nvPr>
            <p:ph sz="quarter" idx="27"/>
          </p:nvPr>
        </p:nvSpPr>
        <p:spPr bwMode="gray">
          <a:xfrm>
            <a:off x="6163300" y="2317637"/>
            <a:ext cx="1739026" cy="1710000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32"/>
          <p:cNvSpPr>
            <a:spLocks noGrp="1"/>
          </p:cNvSpPr>
          <p:nvPr>
            <p:ph sz="quarter" idx="28"/>
          </p:nvPr>
        </p:nvSpPr>
        <p:spPr bwMode="gray">
          <a:xfrm>
            <a:off x="6163300" y="4202644"/>
            <a:ext cx="1739026" cy="1710000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8"/>
          </p:nvPr>
        </p:nvSpPr>
        <p:spPr bwMode="gray">
          <a:xfrm>
            <a:off x="2259472" y="2317637"/>
            <a:ext cx="3757689" cy="17100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259472" y="4202644"/>
            <a:ext cx="3757689" cy="1710000"/>
          </a:xfrm>
        </p:spPr>
        <p:txBody>
          <a:bodyPr lIns="0" tIns="0" rIns="0" bIns="0"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8093952" y="2317637"/>
            <a:ext cx="3759312" cy="17100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8093952" y="4202644"/>
            <a:ext cx="3759312" cy="1710000"/>
          </a:xfrm>
        </p:spPr>
        <p:txBody>
          <a:bodyPr lIns="0" tIns="0" rIns="0" bIns="0"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4" name="Straight Connector 23"/>
          <p:cNvCxnSpPr/>
          <p:nvPr userDrawn="1"/>
        </p:nvCxnSpPr>
        <p:spPr bwMode="gray">
          <a:xfrm>
            <a:off x="332368" y="2238495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 bwMode="gray">
          <a:xfrm>
            <a:off x="332368" y="4115141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4928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: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9107" y="1931194"/>
            <a:ext cx="5604420" cy="1922496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7" y="1931194"/>
            <a:ext cx="5603434" cy="398091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49107" y="3989616"/>
            <a:ext cx="5604420" cy="1922496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5264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: Title (3) &amp;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045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248045" y="4045107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6248045" y="2318321"/>
            <a:ext cx="5605200" cy="1484195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40"/>
            <a:ext cx="5605200" cy="35951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333264" y="223917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6248045" y="223917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6248045" y="4348008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6248045" y="4432235"/>
            <a:ext cx="5605200" cy="1481057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1159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32" name="Straight Connector 31"/>
          <p:cNvCxnSpPr/>
          <p:nvPr userDrawn="1"/>
        </p:nvCxnSpPr>
        <p:spPr bwMode="gray">
          <a:xfrm>
            <a:off x="6095999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4807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: Title (3) &amp; Content (3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332366" y="5452639"/>
            <a:ext cx="11520877" cy="460800"/>
          </a:xfrm>
          <a:solidFill>
            <a:schemeClr val="accent3"/>
          </a:solidFill>
        </p:spPr>
        <p:txBody>
          <a:bodyPr lIns="0" tIns="0" rIns="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6248043" y="2317641"/>
            <a:ext cx="5605200" cy="105391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37"/>
            <a:ext cx="5605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043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248043" y="3831247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333264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6248043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6248043" y="4135561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6248043" y="4214707"/>
            <a:ext cx="5605200" cy="105391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9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37" name="Straight Connector 36"/>
          <p:cNvCxnSpPr/>
          <p:nvPr userDrawn="1"/>
        </p:nvCxnSpPr>
        <p:spPr bwMode="gray">
          <a:xfrm>
            <a:off x="6095999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9161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: Title &amp; Content (2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582" y="1931195"/>
            <a:ext cx="2064201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700027" y="1931195"/>
            <a:ext cx="9153500" cy="398091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582" y="2317640"/>
            <a:ext cx="2064201" cy="3594475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333983" y="2238495"/>
            <a:ext cx="2062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2548405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5043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: Title &amp; Content (2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5"/>
            <a:ext cx="4093766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724929" y="1931195"/>
            <a:ext cx="7128598" cy="398091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3" y="2317640"/>
            <a:ext cx="4093767" cy="3594475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333264" y="2238495"/>
            <a:ext cx="409376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4575980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8451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: Title (3) &amp; Content (3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4093767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724453" y="1931194"/>
            <a:ext cx="7128811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4724453" y="4042705"/>
            <a:ext cx="7128811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4724453" y="2317638"/>
            <a:ext cx="7128811" cy="148354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38"/>
            <a:ext cx="4094665" cy="359447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cxnSp>
        <p:nvCxnSpPr>
          <p:cNvPr id="11" name="Straight Connector 9"/>
          <p:cNvCxnSpPr/>
          <p:nvPr userDrawn="1"/>
        </p:nvCxnSpPr>
        <p:spPr bwMode="gray">
          <a:xfrm>
            <a:off x="4725264" y="2238495"/>
            <a:ext cx="71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4725264" y="4349421"/>
            <a:ext cx="71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4724453" y="4428564"/>
            <a:ext cx="7128811" cy="148354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6" y="1085213"/>
            <a:ext cx="11521161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37" name="Straight Connector 36"/>
          <p:cNvCxnSpPr/>
          <p:nvPr userDrawn="1"/>
        </p:nvCxnSpPr>
        <p:spPr bwMode="gray">
          <a:xfrm>
            <a:off x="4575980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 bwMode="gray">
          <a:xfrm>
            <a:off x="333264" y="2238495"/>
            <a:ext cx="409376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8958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: Title (3) &amp; Content (3) &amp; Bo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/>
          <p:cNvCxnSpPr/>
          <p:nvPr userDrawn="1"/>
        </p:nvCxnSpPr>
        <p:spPr bwMode="gray">
          <a:xfrm>
            <a:off x="4575980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332366" y="5452639"/>
            <a:ext cx="11521161" cy="460800"/>
          </a:xfrm>
          <a:solidFill>
            <a:schemeClr val="accent3"/>
          </a:solidFill>
        </p:spPr>
        <p:txBody>
          <a:bodyPr lIns="0" tIns="0" rIns="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4724930" y="2317641"/>
            <a:ext cx="7128597" cy="105391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38"/>
            <a:ext cx="4094664" cy="2950979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367" y="1931193"/>
            <a:ext cx="4094664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724930" y="1931193"/>
            <a:ext cx="7129297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4724930" y="3831247"/>
            <a:ext cx="7129297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4724930" y="4214707"/>
            <a:ext cx="7128597" cy="105391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9" name="Straight Connector 9"/>
          <p:cNvCxnSpPr/>
          <p:nvPr userDrawn="1"/>
        </p:nvCxnSpPr>
        <p:spPr bwMode="gray">
          <a:xfrm>
            <a:off x="4724930" y="2238495"/>
            <a:ext cx="71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 bwMode="gray">
          <a:xfrm>
            <a:off x="4727528" y="4136597"/>
            <a:ext cx="71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45" name="Straight Connector 44"/>
          <p:cNvCxnSpPr/>
          <p:nvPr userDrawn="1"/>
        </p:nvCxnSpPr>
        <p:spPr bwMode="gray">
          <a:xfrm>
            <a:off x="333264" y="2238495"/>
            <a:ext cx="409376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9896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: Title (3) &amp; Content (3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184"/>
            <a:ext cx="3643200" cy="359493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5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5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2317184"/>
            <a:ext cx="3643200" cy="359493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317184"/>
            <a:ext cx="3643200" cy="359493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9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35" name="Straight Connector 34"/>
          <p:cNvCxnSpPr/>
          <p:nvPr userDrawn="1"/>
        </p:nvCxnSpPr>
        <p:spPr bwMode="gray">
          <a:xfrm>
            <a:off x="4124130" y="2388386"/>
            <a:ext cx="0" cy="35266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 bwMode="gray">
          <a:xfrm>
            <a:off x="8062662" y="2388386"/>
            <a:ext cx="0" cy="35266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762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: Title (3) &amp; Content (3) &amp; Bo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28"/>
          </p:nvPr>
        </p:nvSpPr>
        <p:spPr bwMode="gray">
          <a:xfrm>
            <a:off x="333264" y="5452639"/>
            <a:ext cx="11520263" cy="460800"/>
          </a:xfrm>
          <a:solidFill>
            <a:schemeClr val="accent3"/>
          </a:solidFill>
        </p:spPr>
        <p:txBody>
          <a:bodyPr rtlCol="0" anchor="ctr"/>
          <a:lstStyle>
            <a:lvl1pPr marL="7939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38"/>
            <a:ext cx="3643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5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5" y="2317638"/>
            <a:ext cx="3643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317638"/>
            <a:ext cx="3643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34" name="Straight Connector 33"/>
          <p:cNvCxnSpPr/>
          <p:nvPr userDrawn="1"/>
        </p:nvCxnSpPr>
        <p:spPr bwMode="gray">
          <a:xfrm>
            <a:off x="4124130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 bwMode="gray">
          <a:xfrm>
            <a:off x="8062661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9550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: Title (3) &amp; Content (3)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917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38"/>
            <a:ext cx="3643200" cy="359379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917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2318318"/>
            <a:ext cx="3643200" cy="359379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917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318318"/>
            <a:ext cx="3643200" cy="359379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8" name="Gleichschenkliges Dreieck 46"/>
          <p:cNvSpPr/>
          <p:nvPr userDrawn="1"/>
        </p:nvSpPr>
        <p:spPr bwMode="gray">
          <a:xfrm rot="5400000">
            <a:off x="6301200" y="4088360"/>
            <a:ext cx="3522591" cy="124922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19" name="Gleichschenkliges Dreieck 46"/>
          <p:cNvSpPr/>
          <p:nvPr userDrawn="1"/>
        </p:nvSpPr>
        <p:spPr bwMode="gray">
          <a:xfrm rot="5400000">
            <a:off x="2362815" y="4091269"/>
            <a:ext cx="3522591" cy="124922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2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290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: Title &amp; Content (8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</p:spPr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115200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3" name="Content Placeholder 32"/>
          <p:cNvSpPr>
            <a:spLocks noGrp="1"/>
          </p:cNvSpPr>
          <p:nvPr>
            <p:ph sz="quarter" idx="25"/>
          </p:nvPr>
        </p:nvSpPr>
        <p:spPr bwMode="gray">
          <a:xfrm>
            <a:off x="332367" y="2317637"/>
            <a:ext cx="1739026" cy="1436400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Content Placeholder 32"/>
          <p:cNvSpPr>
            <a:spLocks noGrp="1"/>
          </p:cNvSpPr>
          <p:nvPr>
            <p:ph sz="quarter" idx="26"/>
          </p:nvPr>
        </p:nvSpPr>
        <p:spPr bwMode="gray">
          <a:xfrm>
            <a:off x="332367" y="3925788"/>
            <a:ext cx="1739026" cy="1436400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Content Placeholder 32"/>
          <p:cNvSpPr>
            <a:spLocks noGrp="1"/>
          </p:cNvSpPr>
          <p:nvPr>
            <p:ph sz="quarter" idx="27"/>
          </p:nvPr>
        </p:nvSpPr>
        <p:spPr bwMode="gray">
          <a:xfrm>
            <a:off x="6163300" y="2317636"/>
            <a:ext cx="1739026" cy="1436400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32"/>
          <p:cNvSpPr>
            <a:spLocks noGrp="1"/>
          </p:cNvSpPr>
          <p:nvPr>
            <p:ph sz="quarter" idx="28"/>
          </p:nvPr>
        </p:nvSpPr>
        <p:spPr bwMode="gray">
          <a:xfrm>
            <a:off x="6163300" y="3925788"/>
            <a:ext cx="1739026" cy="1436400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8"/>
          </p:nvPr>
        </p:nvSpPr>
        <p:spPr bwMode="gray">
          <a:xfrm>
            <a:off x="2260482" y="2317636"/>
            <a:ext cx="3757436" cy="14364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260482" y="3925788"/>
            <a:ext cx="3757436" cy="1436400"/>
          </a:xfrm>
        </p:spPr>
        <p:txBody>
          <a:bodyPr lIns="0" tIns="0" rIns="0" bIns="0"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8093953" y="2317636"/>
            <a:ext cx="3759312" cy="14364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8093953" y="3925788"/>
            <a:ext cx="3759312" cy="1436400"/>
          </a:xfrm>
        </p:spPr>
        <p:txBody>
          <a:bodyPr lIns="0" tIns="0" rIns="0" bIns="0"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3264" y="5453066"/>
            <a:ext cx="11520000" cy="460375"/>
          </a:xfrm>
          <a:solidFill>
            <a:schemeClr val="accent3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332368" y="2238495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 bwMode="gray">
          <a:xfrm>
            <a:off x="332368" y="3839912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325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: Title (3) &amp; Content (3) &amp; Box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38"/>
            <a:ext cx="3643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5" y="2317638"/>
            <a:ext cx="3643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317638"/>
            <a:ext cx="3643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0" name="Text Placeholder 17"/>
          <p:cNvSpPr>
            <a:spLocks noGrp="1"/>
          </p:cNvSpPr>
          <p:nvPr>
            <p:ph type="body" sz="quarter" idx="28"/>
          </p:nvPr>
        </p:nvSpPr>
        <p:spPr bwMode="gray">
          <a:xfrm>
            <a:off x="332581" y="5452639"/>
            <a:ext cx="11520683" cy="460800"/>
          </a:xfrm>
          <a:solidFill>
            <a:schemeClr val="accent3"/>
          </a:solidFill>
        </p:spPr>
        <p:txBody>
          <a:bodyPr rtlCol="0" anchor="ctr"/>
          <a:lstStyle>
            <a:lvl1pPr marL="7939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19" name="Gleichschenkliges Dreieck 46"/>
          <p:cNvSpPr/>
          <p:nvPr userDrawn="1"/>
        </p:nvSpPr>
        <p:spPr bwMode="gray">
          <a:xfrm rot="5400000">
            <a:off x="6622950" y="3766612"/>
            <a:ext cx="2879092" cy="124922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24" name="Gleichschenkliges Dreieck 46"/>
          <p:cNvSpPr/>
          <p:nvPr userDrawn="1"/>
        </p:nvSpPr>
        <p:spPr bwMode="gray">
          <a:xfrm rot="5400000">
            <a:off x="2684564" y="3769521"/>
            <a:ext cx="2879093" cy="124922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5019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: Title (3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333264" y="2317752"/>
            <a:ext cx="3643200" cy="1692493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4271796" y="2317751"/>
            <a:ext cx="3643200" cy="1692493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8210327" y="2317751"/>
            <a:ext cx="3643200" cy="1692493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4239659"/>
            <a:ext cx="3643200" cy="1673783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4239659"/>
            <a:ext cx="3643200" cy="1673783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4239659"/>
            <a:ext cx="3643200" cy="1673783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903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: Title (3) &amp; Content (6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333264" y="2317751"/>
            <a:ext cx="3643200" cy="1692493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4271796" y="2317751"/>
            <a:ext cx="3643200" cy="1692493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8210327" y="2317751"/>
            <a:ext cx="3643200" cy="1692493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4239659"/>
            <a:ext cx="3643200" cy="1028959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4239659"/>
            <a:ext cx="3643200" cy="1028959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4239659"/>
            <a:ext cx="3643200" cy="1028959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1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191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1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5" name="Text Placeholder 17"/>
          <p:cNvSpPr>
            <a:spLocks noGrp="1"/>
          </p:cNvSpPr>
          <p:nvPr>
            <p:ph type="body" sz="quarter" idx="31"/>
          </p:nvPr>
        </p:nvSpPr>
        <p:spPr bwMode="gray">
          <a:xfrm>
            <a:off x="333264" y="5452639"/>
            <a:ext cx="11520000" cy="460800"/>
          </a:xfrm>
          <a:solidFill>
            <a:schemeClr val="accent3"/>
          </a:solidFill>
        </p:spPr>
        <p:txBody>
          <a:bodyPr rtlCol="0" anchor="ctr"/>
          <a:lstStyle>
            <a:lvl1pPr marL="7939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53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: Content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2367" y="3989616"/>
            <a:ext cx="2655682" cy="1922496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55" y="1931194"/>
            <a:ext cx="2655214" cy="1922496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3139431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291292" y="1931194"/>
            <a:ext cx="5609417" cy="398091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9049511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9197845" y="3989616"/>
            <a:ext cx="2655682" cy="1922496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9198313" y="1931194"/>
            <a:ext cx="2655214" cy="1922496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475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: Title (4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38"/>
            <a:ext cx="2656800" cy="359447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287752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287752" y="2317638"/>
            <a:ext cx="2656800" cy="359447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6242240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242240" y="2317638"/>
            <a:ext cx="2656800" cy="359447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333264" y="2238495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gray">
          <a:xfrm>
            <a:off x="3287752" y="2238495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6242240" y="2238495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 bwMode="gray">
          <a:xfrm>
            <a:off x="9196727" y="2238495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6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9196727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9196727" y="2317638"/>
            <a:ext cx="2656800" cy="359447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41" name="Straight Connector 40"/>
          <p:cNvCxnSpPr/>
          <p:nvPr userDrawn="1"/>
        </p:nvCxnSpPr>
        <p:spPr bwMode="gray">
          <a:xfrm>
            <a:off x="3138908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 bwMode="gray">
          <a:xfrm>
            <a:off x="9047884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 bwMode="gray">
          <a:xfrm>
            <a:off x="6093396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3622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: Title (4) &amp; Content (4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752"/>
            <a:ext cx="2656800" cy="2950867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287752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287752" y="2317752"/>
            <a:ext cx="2656800" cy="2950867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6242240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242240" y="2317752"/>
            <a:ext cx="2656800" cy="2950867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333264" y="2238606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gray">
          <a:xfrm>
            <a:off x="3287752" y="2238606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6242240" y="2238606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 bwMode="gray">
          <a:xfrm>
            <a:off x="9196727" y="2238606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6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9196727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9196727" y="2317752"/>
            <a:ext cx="2656800" cy="2950867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4" name="Text Placeholder 17"/>
          <p:cNvSpPr>
            <a:spLocks noGrp="1"/>
          </p:cNvSpPr>
          <p:nvPr>
            <p:ph type="body" sz="quarter" idx="30"/>
          </p:nvPr>
        </p:nvSpPr>
        <p:spPr bwMode="gray">
          <a:xfrm>
            <a:off x="332366" y="5452639"/>
            <a:ext cx="11520897" cy="460800"/>
          </a:xfrm>
          <a:solidFill>
            <a:schemeClr val="accent3"/>
          </a:solidFill>
        </p:spPr>
        <p:txBody>
          <a:bodyPr rtlCol="0" anchor="ctr"/>
          <a:lstStyle>
            <a:lvl1pPr marL="7939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3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2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3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3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42" name="Straight Connector 41"/>
          <p:cNvCxnSpPr/>
          <p:nvPr userDrawn="1"/>
        </p:nvCxnSpPr>
        <p:spPr bwMode="gray">
          <a:xfrm>
            <a:off x="3138908" y="2388954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 bwMode="gray">
          <a:xfrm>
            <a:off x="9047884" y="2388954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 bwMode="gray">
          <a:xfrm>
            <a:off x="6093396" y="2388954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8953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: Content (3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50004" y="1931197"/>
            <a:ext cx="5603523" cy="1853869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4" y="1931197"/>
            <a:ext cx="5602537" cy="1853869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1931197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32367" y="4064036"/>
            <a:ext cx="11520897" cy="1848076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33527" y="3922317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6528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: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259985" y="1931197"/>
            <a:ext cx="3643200" cy="1853869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4" y="1931197"/>
            <a:ext cx="3643200" cy="1853869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4118225" y="1931197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32367" y="4064036"/>
            <a:ext cx="11520897" cy="1848076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33527" y="3922317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8056756" y="1931197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4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8210327" y="1931197"/>
            <a:ext cx="3643200" cy="1853869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212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: Content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64" y="1932098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333527" y="3925094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287752" y="1932849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64" y="4016596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287752" y="4017347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5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6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24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242240" y="1932098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5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9196727" y="1932849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6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6242240" y="4016596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7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9196727" y="4017347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5720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: Title (4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333264" y="4045107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248045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333264" y="4432235"/>
            <a:ext cx="5605200" cy="1484195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38"/>
            <a:ext cx="5605200" cy="1484876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333264" y="223917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333264" y="4348008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6248045" y="223917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6248045" y="2317641"/>
            <a:ext cx="5605200" cy="1481057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1159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32" name="Straight Connector 31"/>
          <p:cNvCxnSpPr/>
          <p:nvPr userDrawn="1"/>
        </p:nvCxnSpPr>
        <p:spPr bwMode="gray">
          <a:xfrm>
            <a:off x="6095999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6248045" y="4043972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9" name="Straight Connector 14"/>
          <p:cNvCxnSpPr/>
          <p:nvPr userDrawn="1"/>
        </p:nvCxnSpPr>
        <p:spPr bwMode="gray">
          <a:xfrm>
            <a:off x="6248045" y="4351954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Content Placeholder 15"/>
          <p:cNvSpPr>
            <a:spLocks noGrp="1"/>
          </p:cNvSpPr>
          <p:nvPr>
            <p:ph sz="quarter" idx="23"/>
          </p:nvPr>
        </p:nvSpPr>
        <p:spPr bwMode="gray">
          <a:xfrm>
            <a:off x="6248045" y="4430420"/>
            <a:ext cx="5605200" cy="1481057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6433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9107" y="1931194"/>
            <a:ext cx="5604420" cy="398091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7" y="1931194"/>
            <a:ext cx="5603434" cy="3980918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6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9035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: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64" y="1931195"/>
            <a:ext cx="5619398" cy="1853868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95999" y="1931195"/>
            <a:ext cx="0" cy="398224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 bwMode="gray">
          <a:xfrm>
            <a:off x="333527" y="3922317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34129" y="1931195"/>
            <a:ext cx="5619398" cy="1853868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64" y="4059571"/>
            <a:ext cx="5619398" cy="1853868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6234129" y="4059571"/>
            <a:ext cx="5619398" cy="1853868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5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6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59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: Content (4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64" y="1931198"/>
            <a:ext cx="5621183" cy="1530893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32344" y="1931198"/>
            <a:ext cx="5621183" cy="1530893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64" y="3737725"/>
            <a:ext cx="5621183" cy="1530893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6232344" y="3737725"/>
            <a:ext cx="5621183" cy="1530893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32367" y="5452639"/>
            <a:ext cx="11521160" cy="460800"/>
          </a:xfrm>
          <a:solidFill>
            <a:schemeClr val="accent3"/>
          </a:solidFill>
        </p:spPr>
        <p:txBody>
          <a:bodyPr lIns="0" tIns="0" rIns="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 bwMode="gray">
          <a:xfrm>
            <a:off x="333527" y="3599905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25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7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95999" y="1931195"/>
            <a:ext cx="0" cy="333742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6" y="1085213"/>
            <a:ext cx="11521161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812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: Title (2) &amp;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3" y="1931196"/>
            <a:ext cx="5361993" cy="191932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3" y="3993324"/>
            <a:ext cx="5361993" cy="191932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1798" y="3921919"/>
            <a:ext cx="53604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 userDrawn="1">
            <p:ph sz="quarter" idx="23"/>
          </p:nvPr>
        </p:nvSpPr>
        <p:spPr bwMode="gray">
          <a:xfrm>
            <a:off x="332582" y="1931196"/>
            <a:ext cx="1918800" cy="1919320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6" name="Content Placeholder 3"/>
          <p:cNvSpPr>
            <a:spLocks noGrp="1"/>
          </p:cNvSpPr>
          <p:nvPr userDrawn="1">
            <p:ph sz="quarter" idx="24"/>
          </p:nvPr>
        </p:nvSpPr>
        <p:spPr bwMode="gray">
          <a:xfrm>
            <a:off x="332582" y="3993324"/>
            <a:ext cx="1918800" cy="1919320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26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27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28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332366" y="1085213"/>
            <a:ext cx="11521161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8218509" y="1931196"/>
            <a:ext cx="3634755" cy="398144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9613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: Title (3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3" y="1931196"/>
            <a:ext cx="5361993" cy="123194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3" y="3305949"/>
            <a:ext cx="5361993" cy="123194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3273" y="4680702"/>
            <a:ext cx="5361993" cy="123194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4866" y="3235138"/>
            <a:ext cx="53604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2554866" y="4611082"/>
            <a:ext cx="53604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 userDrawn="1">
            <p:ph sz="quarter" idx="23"/>
          </p:nvPr>
        </p:nvSpPr>
        <p:spPr bwMode="gray">
          <a:xfrm>
            <a:off x="332367" y="1931196"/>
            <a:ext cx="1917663" cy="1231942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6" name="Content Placeholder 3"/>
          <p:cNvSpPr>
            <a:spLocks noGrp="1"/>
          </p:cNvSpPr>
          <p:nvPr userDrawn="1">
            <p:ph sz="quarter" idx="24"/>
          </p:nvPr>
        </p:nvSpPr>
        <p:spPr bwMode="gray">
          <a:xfrm>
            <a:off x="332367" y="3305949"/>
            <a:ext cx="1917663" cy="1231942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7" name="Content Placeholder 3"/>
          <p:cNvSpPr>
            <a:spLocks noGrp="1"/>
          </p:cNvSpPr>
          <p:nvPr userDrawn="1">
            <p:ph sz="quarter" idx="25"/>
          </p:nvPr>
        </p:nvSpPr>
        <p:spPr bwMode="gray">
          <a:xfrm>
            <a:off x="332367" y="4680702"/>
            <a:ext cx="1917663" cy="1231942"/>
          </a:xfrm>
        </p:spPr>
        <p:txBody>
          <a:bodyPr lIns="0" tIns="0" rIns="0" bIns="0" rtlCol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26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27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28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8218509" y="1931196"/>
            <a:ext cx="3634755" cy="398144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9404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: Title (3) &amp; Content (3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3" y="1931196"/>
            <a:ext cx="9299991" cy="123194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4464" y="3235138"/>
            <a:ext cx="9298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3" y="3305949"/>
            <a:ext cx="9299991" cy="123194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3273" y="4680702"/>
            <a:ext cx="9299991" cy="123194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2554464" y="4611082"/>
            <a:ext cx="9298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1931196"/>
            <a:ext cx="1916766" cy="1231942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33264" y="3305949"/>
            <a:ext cx="1916766" cy="1231942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33264" y="4680702"/>
            <a:ext cx="1916766" cy="1231942"/>
          </a:xfrm>
        </p:spPr>
        <p:txBody>
          <a:bodyPr lIns="0" tIns="0" rIns="0" bIns="0" rtlCol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6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7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748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: Title (3) &amp; Content (3) &amp; Bo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3" y="1931196"/>
            <a:ext cx="9299991" cy="101647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4464" y="3019668"/>
            <a:ext cx="9298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3" y="3091669"/>
            <a:ext cx="9299991" cy="101647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3273" y="4252143"/>
            <a:ext cx="9299991" cy="101647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2554464" y="4180142"/>
            <a:ext cx="9298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1931196"/>
            <a:ext cx="1916766" cy="1016472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33264" y="3091669"/>
            <a:ext cx="1916766" cy="1016472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33264" y="4252143"/>
            <a:ext cx="1916766" cy="1016472"/>
          </a:xfrm>
        </p:spPr>
        <p:txBody>
          <a:bodyPr lIns="0" tIns="0" rIns="0" bIns="0" rtlCol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332366" y="5452639"/>
            <a:ext cx="11520898" cy="460800"/>
          </a:xfrm>
          <a:solidFill>
            <a:schemeClr val="accent3"/>
          </a:solidFill>
        </p:spPr>
        <p:txBody>
          <a:bodyPr lIns="0" tIns="0" rIns="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7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8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9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71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: Title (4) &amp; Content (4) &amp; Box /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818583" y="1931198"/>
            <a:ext cx="9034681" cy="726353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818583" y="2801554"/>
            <a:ext cx="9034681" cy="726353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818583" y="3671910"/>
            <a:ext cx="9034681" cy="726353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332367" y="5452639"/>
            <a:ext cx="11520898" cy="460800"/>
          </a:xfrm>
          <a:solidFill>
            <a:schemeClr val="accent3"/>
          </a:solidFill>
        </p:spPr>
        <p:txBody>
          <a:bodyPr lIns="0" tIns="0" rIns="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3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332582" y="1931198"/>
            <a:ext cx="1535879" cy="726353"/>
          </a:xfrm>
        </p:spPr>
        <p:txBody>
          <a:bodyPr lIns="0" tIns="0" rIns="0" bIns="0" rtlCol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5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332582" y="2801554"/>
            <a:ext cx="1535879" cy="726353"/>
          </a:xfrm>
        </p:spPr>
        <p:txBody>
          <a:bodyPr lIns="0" tIns="0" rIns="0" bIns="0" rtlCol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332582" y="3671910"/>
            <a:ext cx="1535879" cy="726353"/>
          </a:xfrm>
        </p:spPr>
        <p:txBody>
          <a:bodyPr lIns="0" tIns="0" rIns="0" bIns="0" rtlCol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7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2818583" y="4542265"/>
            <a:ext cx="9034681" cy="726353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8" name="Content Placeholder 3"/>
          <p:cNvSpPr>
            <a:spLocks noGrp="1"/>
          </p:cNvSpPr>
          <p:nvPr>
            <p:ph sz="quarter" idx="31"/>
          </p:nvPr>
        </p:nvSpPr>
        <p:spPr bwMode="gray">
          <a:xfrm>
            <a:off x="332582" y="4542265"/>
            <a:ext cx="1535879" cy="726353"/>
          </a:xfrm>
        </p:spPr>
        <p:txBody>
          <a:bodyPr lIns="0" tIns="0" rIns="0" bIns="0" rtlCol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39" name="Straight Connector 13"/>
          <p:cNvCxnSpPr/>
          <p:nvPr userDrawn="1"/>
        </p:nvCxnSpPr>
        <p:spPr bwMode="gray">
          <a:xfrm>
            <a:off x="1999567" y="2800986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0" name="Straight Connector 14"/>
          <p:cNvCxnSpPr/>
          <p:nvPr userDrawn="1"/>
        </p:nvCxnSpPr>
        <p:spPr bwMode="gray">
          <a:xfrm>
            <a:off x="1779054" y="3164586"/>
            <a:ext cx="220918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1" name="Straight Connector 13"/>
          <p:cNvCxnSpPr/>
          <p:nvPr userDrawn="1"/>
        </p:nvCxnSpPr>
        <p:spPr bwMode="gray">
          <a:xfrm>
            <a:off x="1999567" y="4542262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2" name="Straight Connector 14"/>
          <p:cNvCxnSpPr/>
          <p:nvPr userDrawn="1"/>
        </p:nvCxnSpPr>
        <p:spPr bwMode="gray">
          <a:xfrm>
            <a:off x="1778487" y="4905862"/>
            <a:ext cx="220918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Straight Connector 13"/>
          <p:cNvCxnSpPr/>
          <p:nvPr userDrawn="1"/>
        </p:nvCxnSpPr>
        <p:spPr bwMode="gray">
          <a:xfrm>
            <a:off x="1999567" y="1930348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Straight Connector 14"/>
          <p:cNvCxnSpPr/>
          <p:nvPr userDrawn="1"/>
        </p:nvCxnSpPr>
        <p:spPr bwMode="gray">
          <a:xfrm>
            <a:off x="1779502" y="2293948"/>
            <a:ext cx="220918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Straight Connector 13"/>
          <p:cNvCxnSpPr/>
          <p:nvPr userDrawn="1"/>
        </p:nvCxnSpPr>
        <p:spPr bwMode="gray">
          <a:xfrm>
            <a:off x="1999568" y="3671624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Straight Connector 14"/>
          <p:cNvCxnSpPr/>
          <p:nvPr userDrawn="1"/>
        </p:nvCxnSpPr>
        <p:spPr bwMode="gray">
          <a:xfrm>
            <a:off x="1778487" y="4035224"/>
            <a:ext cx="220918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2072427" y="2729549"/>
            <a:ext cx="978083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 userDrawn="1"/>
        </p:nvCxnSpPr>
        <p:spPr bwMode="gray">
          <a:xfrm>
            <a:off x="2072427" y="3599904"/>
            <a:ext cx="978083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 userDrawn="1"/>
        </p:nvCxnSpPr>
        <p:spPr bwMode="gray">
          <a:xfrm>
            <a:off x="2072427" y="4470259"/>
            <a:ext cx="978083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 userDrawn="1">
            <p:ph type="dt" sz="half" idx="32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33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34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34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5" hasCustomPrompt="1"/>
          </p:nvPr>
        </p:nvSpPr>
        <p:spPr>
          <a:xfrm>
            <a:off x="2218077" y="2100061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rtlCol="0"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 rtl="0"/>
            <a:r>
              <a:rPr lang="pt"/>
              <a:t>1</a:t>
            </a:r>
            <a:endParaRPr lang="en-GB"/>
          </a:p>
        </p:txBody>
      </p:sp>
      <p:sp>
        <p:nvSpPr>
          <p:cNvPr id="54" name="Content Placeholder 6"/>
          <p:cNvSpPr>
            <a:spLocks noGrp="1"/>
          </p:cNvSpPr>
          <p:nvPr>
            <p:ph sz="quarter" idx="36" hasCustomPrompt="1"/>
          </p:nvPr>
        </p:nvSpPr>
        <p:spPr>
          <a:xfrm>
            <a:off x="2218077" y="2971986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rtlCol="0"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 rtl="0"/>
            <a:r>
              <a:rPr lang="pt"/>
              <a:t>2</a:t>
            </a:r>
            <a:endParaRPr lang="en-GB"/>
          </a:p>
        </p:txBody>
      </p:sp>
      <p:sp>
        <p:nvSpPr>
          <p:cNvPr id="55" name="Content Placeholder 6"/>
          <p:cNvSpPr>
            <a:spLocks noGrp="1"/>
          </p:cNvSpPr>
          <p:nvPr>
            <p:ph sz="quarter" idx="37" hasCustomPrompt="1"/>
          </p:nvPr>
        </p:nvSpPr>
        <p:spPr>
          <a:xfrm>
            <a:off x="2218077" y="3843416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rtlCol="0"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 rtl="0"/>
            <a:r>
              <a:rPr lang="pt"/>
              <a:t>3</a:t>
            </a:r>
            <a:endParaRPr lang="en-GB"/>
          </a:p>
        </p:txBody>
      </p:sp>
      <p:sp>
        <p:nvSpPr>
          <p:cNvPr id="56" name="Content Placeholder 6"/>
          <p:cNvSpPr>
            <a:spLocks noGrp="1"/>
          </p:cNvSpPr>
          <p:nvPr>
            <p:ph sz="quarter" idx="38" hasCustomPrompt="1"/>
          </p:nvPr>
        </p:nvSpPr>
        <p:spPr>
          <a:xfrm>
            <a:off x="2218077" y="4708172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rtlCol="0"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 rtl="0"/>
            <a:r>
              <a:rPr lang="pt"/>
              <a:t>4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0868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: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2553272" y="1931194"/>
            <a:ext cx="2899094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27"/>
          </p:nvPr>
        </p:nvSpPr>
        <p:spPr bwMode="gray">
          <a:xfrm>
            <a:off x="5754947" y="1931194"/>
            <a:ext cx="28980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9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8955527" y="1931194"/>
            <a:ext cx="28980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2" y="2317748"/>
            <a:ext cx="2903803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3" y="3573970"/>
            <a:ext cx="2903803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3273" y="4830194"/>
            <a:ext cx="2903803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1931196"/>
            <a:ext cx="1916766" cy="1231942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33264" y="3305949"/>
            <a:ext cx="1916766" cy="1231942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33264" y="4680702"/>
            <a:ext cx="1916766" cy="1231942"/>
          </a:xfrm>
        </p:spPr>
        <p:txBody>
          <a:bodyPr lIns="0" tIns="0" rIns="0" bIns="0" rtlCol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8" name="Straight Connector 27"/>
          <p:cNvCxnSpPr/>
          <p:nvPr userDrawn="1"/>
        </p:nvCxnSpPr>
        <p:spPr bwMode="gray">
          <a:xfrm>
            <a:off x="2553272" y="2238607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 bwMode="gray">
          <a:xfrm>
            <a:off x="2550359" y="3487659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 bwMode="gray">
          <a:xfrm>
            <a:off x="2550359" y="4743881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 bwMode="gray">
          <a:xfrm>
            <a:off x="5754400" y="2238607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 bwMode="gray">
          <a:xfrm>
            <a:off x="5752943" y="3487659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 bwMode="gray">
          <a:xfrm>
            <a:off x="5752943" y="4743881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 bwMode="gray">
          <a:xfrm>
            <a:off x="8955527" y="2238607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 bwMode="gray">
          <a:xfrm>
            <a:off x="8955527" y="3487659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 bwMode="gray">
          <a:xfrm>
            <a:off x="8955527" y="4743881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3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5757301" y="2317748"/>
            <a:ext cx="2898000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5757302" y="3573970"/>
            <a:ext cx="2898000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45" name="Content Placeholder 3"/>
          <p:cNvSpPr>
            <a:spLocks noGrp="1"/>
          </p:cNvSpPr>
          <p:nvPr>
            <p:ph sz="quarter" idx="31"/>
          </p:nvPr>
        </p:nvSpPr>
        <p:spPr bwMode="gray">
          <a:xfrm>
            <a:off x="5757302" y="4830194"/>
            <a:ext cx="2898000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46" name="Content Placeholder 3"/>
          <p:cNvSpPr>
            <a:spLocks noGrp="1"/>
          </p:cNvSpPr>
          <p:nvPr>
            <p:ph sz="quarter" idx="32"/>
          </p:nvPr>
        </p:nvSpPr>
        <p:spPr bwMode="gray">
          <a:xfrm>
            <a:off x="8955527" y="2317748"/>
            <a:ext cx="2898000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47" name="Content Placeholder 3"/>
          <p:cNvSpPr>
            <a:spLocks noGrp="1"/>
          </p:cNvSpPr>
          <p:nvPr>
            <p:ph sz="quarter" idx="33"/>
          </p:nvPr>
        </p:nvSpPr>
        <p:spPr bwMode="gray">
          <a:xfrm>
            <a:off x="8955527" y="3573970"/>
            <a:ext cx="2898000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48" name="Content Placeholder 3"/>
          <p:cNvSpPr>
            <a:spLocks noGrp="1"/>
          </p:cNvSpPr>
          <p:nvPr>
            <p:ph sz="quarter" idx="34"/>
          </p:nvPr>
        </p:nvSpPr>
        <p:spPr bwMode="gray">
          <a:xfrm>
            <a:off x="8955527" y="4830194"/>
            <a:ext cx="2898000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35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6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7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4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116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: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945"/>
            <a:ext cx="3643200" cy="360000"/>
          </a:xfrm>
          <a:prstGeom prst="homePlate">
            <a:avLst/>
          </a:prstGeom>
          <a:solidFill>
            <a:schemeClr val="accent4"/>
          </a:solidFill>
        </p:spPr>
        <p:txBody>
          <a:bodyPr lIns="28800" tIns="0" rIns="2880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945"/>
            <a:ext cx="3643200" cy="360000"/>
          </a:xfrm>
          <a:prstGeom prst="chevron">
            <a:avLst/>
          </a:prstGeom>
          <a:solidFill>
            <a:schemeClr val="accent4"/>
          </a:solidFill>
        </p:spPr>
        <p:txBody>
          <a:bodyPr lIns="28800" tIns="0" rIns="2880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945"/>
            <a:ext cx="3643200" cy="360000"/>
          </a:xfrm>
          <a:prstGeom prst="chevron">
            <a:avLst/>
          </a:prstGeom>
          <a:solidFill>
            <a:schemeClr val="accent4"/>
          </a:solidFill>
        </p:spPr>
        <p:txBody>
          <a:bodyPr lIns="28800" tIns="0" rIns="2880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</p:spPr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402146"/>
            <a:ext cx="3643200" cy="351129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2402146"/>
            <a:ext cx="3643200" cy="351129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402146"/>
            <a:ext cx="3643200" cy="351129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7" name="Straight Connector 26"/>
          <p:cNvCxnSpPr/>
          <p:nvPr userDrawn="1"/>
        </p:nvCxnSpPr>
        <p:spPr bwMode="gray">
          <a:xfrm>
            <a:off x="4124130" y="2473348"/>
            <a:ext cx="0" cy="344009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 bwMode="gray">
          <a:xfrm>
            <a:off x="8062662" y="2473348"/>
            <a:ext cx="0" cy="344009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405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2: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 bwMode="gray">
          <a:xfrm>
            <a:off x="2" y="0"/>
            <a:ext cx="12192000" cy="6858000"/>
          </a:xfrm>
          <a:custGeom>
            <a:avLst/>
            <a:gdLst>
              <a:gd name="connsiteX0" fmla="*/ 334746 w 12192000"/>
              <a:gd name="connsiteY0" fmla="*/ 530044 h 6858000"/>
              <a:gd name="connsiteX1" fmla="*/ 334746 w 12192000"/>
              <a:gd name="connsiteY1" fmla="*/ 558844 h 6858000"/>
              <a:gd name="connsiteX2" fmla="*/ 561546 w 12192000"/>
              <a:gd name="connsiteY2" fmla="*/ 558844 h 6858000"/>
              <a:gd name="connsiteX3" fmla="*/ 561546 w 12192000"/>
              <a:gd name="connsiteY3" fmla="*/ 53004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4746" y="530044"/>
                </a:moveTo>
                <a:lnTo>
                  <a:pt x="334746" y="558844"/>
                </a:lnTo>
                <a:lnTo>
                  <a:pt x="561546" y="558844"/>
                </a:lnTo>
                <a:lnTo>
                  <a:pt x="561546" y="53004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rtlCol="0">
            <a:noAutofit/>
          </a:bodyPr>
          <a:lstStyle/>
          <a:p>
            <a:pPr rtl="0"/>
            <a:r>
              <a:rPr lang="pt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2366" y="622788"/>
            <a:ext cx="11520898" cy="396000"/>
          </a:xfrm>
        </p:spPr>
        <p:txBody>
          <a:bodyPr rtlCol="0"/>
          <a:lstStyle>
            <a:lvl1pPr>
              <a:defRPr sz="1800"/>
            </a:lvl1pPr>
          </a:lstStyle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gray"/>
        <p:txBody>
          <a:bodyPr rtlCol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gray"/>
        <p:txBody>
          <a:bodyPr rtlCol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 rtl="0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gray"/>
        <p:txBody>
          <a:bodyPr rtlCol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242214" y="447781"/>
            <a:ext cx="55097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1800" b="1">
                <a:solidFill>
                  <a:srgbClr val="FF0000"/>
                </a:solidFill>
              </a:rPr>
              <a:t>—</a:t>
            </a:r>
            <a:endParaRPr lang="en-US" sz="1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795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: Content (2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9107" y="1931194"/>
            <a:ext cx="5604420" cy="3430994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7" y="1931194"/>
            <a:ext cx="5603434" cy="3430994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1931194"/>
            <a:ext cx="0" cy="343099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368" y="5453066"/>
            <a:ext cx="11520896" cy="460375"/>
          </a:xfrm>
          <a:solidFill>
            <a:schemeClr val="accent3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3732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gray"/>
        <p:txBody>
          <a:bodyPr rtlCol="0"/>
          <a:lstStyle>
            <a:lvl1pPr>
              <a:defRPr/>
            </a:lvl1pPr>
          </a:lstStyle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478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4: 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pic>
        <p:nvPicPr>
          <p:cNvPr id="7" name="Picture 19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47616" y="2793573"/>
            <a:ext cx="3296776" cy="1264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785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: Title (2) &amp;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435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435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8327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327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9107" y="2317638"/>
            <a:ext cx="5604420" cy="3594474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7" y="2317638"/>
            <a:ext cx="5603434" cy="3594474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1" name="Straight Connector 20"/>
          <p:cNvCxnSpPr>
            <a:cxnSpLocks/>
          </p:cNvCxnSpPr>
          <p:nvPr userDrawn="1"/>
        </p:nvCxnSpPr>
        <p:spPr bwMode="gray">
          <a:xfrm>
            <a:off x="6095999" y="2388843"/>
            <a:ext cx="0" cy="27648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5363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: Title (2) &amp; Content (2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365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2365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8327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327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327" y="2317638"/>
            <a:ext cx="5605200" cy="295097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5" y="2317638"/>
            <a:ext cx="5605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95999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583" y="5453066"/>
            <a:ext cx="11520682" cy="460375"/>
          </a:xfrm>
          <a:solidFill>
            <a:schemeClr val="accent3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7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171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: Title (2) &amp; Content (2)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64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3754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044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044" y="2317638"/>
            <a:ext cx="5605200" cy="3594474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4" y="2317638"/>
            <a:ext cx="5605200" cy="3594474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Gleichschenkliges Dreieck 46"/>
          <p:cNvSpPr/>
          <p:nvPr userDrawn="1"/>
        </p:nvSpPr>
        <p:spPr bwMode="gray">
          <a:xfrm rot="5400000">
            <a:off x="4334900" y="4088006"/>
            <a:ext cx="3523271" cy="124946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16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7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1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: 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Placeholder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" y="0"/>
            <a:ext cx="12192000" cy="4610100"/>
          </a:xfrm>
          <a:prstGeom prst="rect">
            <a:avLst/>
          </a:prstGeom>
        </p:spPr>
      </p:pic>
      <p:sp>
        <p:nvSpPr>
          <p:cNvPr id="22" name="Text Placeholder 5"/>
          <p:cNvSpPr>
            <a:spLocks noGrp="1"/>
          </p:cNvSpPr>
          <p:nvPr>
            <p:ph type="body" sz="quarter" idx="16"/>
          </p:nvPr>
        </p:nvSpPr>
        <p:spPr bwMode="gray">
          <a:xfrm>
            <a:off x="335757" y="365752"/>
            <a:ext cx="1528942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40519" y="5000633"/>
            <a:ext cx="10112937" cy="224432"/>
          </a:xfrm>
        </p:spPr>
        <p:txBody>
          <a:bodyPr lIns="0" tIns="0" rIns="0" bIns="0" rtlCol="0" anchor="b"/>
          <a:lstStyle>
            <a:lvl1pPr marL="1588" indent="0">
              <a:buFont typeface="Arial" panose="020B0604020202020204" pitchFamily="34" charset="0"/>
              <a:buNone/>
              <a:defRPr sz="1000" cap="all" baseline="0"/>
            </a:lvl1pPr>
            <a:lvl2pPr marL="1588" indent="0">
              <a:buNone/>
              <a:defRPr sz="1000" cap="all" baseline="0"/>
            </a:lvl2pPr>
            <a:lvl3pPr marL="1588" indent="0">
              <a:buNone/>
              <a:defRPr sz="1000" cap="all" baseline="0"/>
            </a:lvl3pPr>
            <a:lvl4pPr marL="1588" indent="0">
              <a:buNone/>
              <a:defRPr sz="1000" cap="all" baseline="0"/>
            </a:lvl4pPr>
            <a:lvl5pPr marL="1588" indent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340519" y="5205566"/>
            <a:ext cx="10112148" cy="504001"/>
          </a:xfrm>
        </p:spPr>
        <p:txBody>
          <a:bodyPr lIns="0" tIns="0" rIns="0" bIns="0" rtlCol="0" anchor="b"/>
          <a:lstStyle>
            <a:lvl1pPr>
              <a:defRPr sz="3200"/>
            </a:lvl1pPr>
          </a:lstStyle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 bwMode="gray">
          <a:xfrm>
            <a:off x="340519" y="5751514"/>
            <a:ext cx="10112147" cy="360865"/>
          </a:xfrm>
        </p:spPr>
        <p:txBody>
          <a:bodyPr lIns="0" tIns="0" rIns="0" bIns="0" rtlCol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40519" y="6109996"/>
            <a:ext cx="10112937" cy="280092"/>
          </a:xfrm>
        </p:spPr>
        <p:txBody>
          <a:bodyPr lIns="0" tIns="0" rIns="0" bIns="0" rtlCol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249357" y="4828013"/>
            <a:ext cx="55097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3200" b="1">
                <a:solidFill>
                  <a:schemeClr val="bg2"/>
                </a:solidFill>
              </a:rPr>
              <a:t>—</a:t>
            </a:r>
            <a:endParaRPr lang="en-US" sz="3200" b="1" dirty="0">
              <a:solidFill>
                <a:schemeClr val="bg2"/>
              </a:solidFill>
            </a:endParaRPr>
          </a:p>
        </p:txBody>
      </p:sp>
      <p:pic>
        <p:nvPicPr>
          <p:cNvPr id="14" name="Picture 1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79643" y="6160150"/>
            <a:ext cx="873621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2441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: Title (2) &amp; Content (2) &amp; Box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leichschenkliges Dreieck 46"/>
          <p:cNvSpPr/>
          <p:nvPr userDrawn="1"/>
        </p:nvSpPr>
        <p:spPr bwMode="gray">
          <a:xfrm rot="5400000">
            <a:off x="4656514" y="3766499"/>
            <a:ext cx="2879662" cy="124579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64" y="2238606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3754" y="2238606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045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045" y="2317751"/>
            <a:ext cx="5605200" cy="2950867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4" y="2317751"/>
            <a:ext cx="5605200" cy="2950867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367" y="5453066"/>
            <a:ext cx="11521160" cy="460375"/>
          </a:xfrm>
          <a:solidFill>
            <a:schemeClr val="accent3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116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58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: Title &amp;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2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64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045" y="1931195"/>
            <a:ext cx="5605200" cy="398091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4" y="2317640"/>
            <a:ext cx="5605200" cy="3594475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4" name="Straight Connector 23"/>
          <p:cNvCxnSpPr/>
          <p:nvPr userDrawn="1"/>
        </p:nvCxnSpPr>
        <p:spPr bwMode="gray">
          <a:xfrm>
            <a:off x="6095999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4869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: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9107" y="1931194"/>
            <a:ext cx="5604420" cy="1922496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7" y="1931194"/>
            <a:ext cx="5603434" cy="3980918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49107" y="3989616"/>
            <a:ext cx="5604420" cy="1922496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2660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: Title (3) &amp;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045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248045" y="4045107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6248045" y="2318321"/>
            <a:ext cx="5605200" cy="1484195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40"/>
            <a:ext cx="5605200" cy="3595121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333264" y="223917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6248045" y="223917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6248045" y="4348008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6248045" y="4432235"/>
            <a:ext cx="5605200" cy="1481057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1159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32" name="Straight Connector 31"/>
          <p:cNvCxnSpPr/>
          <p:nvPr userDrawn="1"/>
        </p:nvCxnSpPr>
        <p:spPr bwMode="gray">
          <a:xfrm>
            <a:off x="6095999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395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: Title (3) &amp; Content (3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332366" y="5452639"/>
            <a:ext cx="11520877" cy="460800"/>
          </a:xfrm>
          <a:solidFill>
            <a:schemeClr val="accent3"/>
          </a:solidFill>
        </p:spPr>
        <p:txBody>
          <a:bodyPr lIns="0" tIns="0" rIns="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6248043" y="2317641"/>
            <a:ext cx="5605200" cy="1053911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37"/>
            <a:ext cx="5605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043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248043" y="3831247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333264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6248043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6248043" y="4135561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6248043" y="4214707"/>
            <a:ext cx="5605200" cy="1053911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9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37" name="Straight Connector 36"/>
          <p:cNvCxnSpPr/>
          <p:nvPr userDrawn="1"/>
        </p:nvCxnSpPr>
        <p:spPr bwMode="gray">
          <a:xfrm>
            <a:off x="6095999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9042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: Title &amp; Content (2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582" y="1931195"/>
            <a:ext cx="2064201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700027" y="1931195"/>
            <a:ext cx="9153500" cy="398091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582" y="2317640"/>
            <a:ext cx="2064201" cy="3594475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333983" y="2238495"/>
            <a:ext cx="2062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2548405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88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: Title &amp; Content (2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5"/>
            <a:ext cx="4093766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724929" y="1931195"/>
            <a:ext cx="7128598" cy="398091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3" y="2317640"/>
            <a:ext cx="4093767" cy="3594475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333264" y="2238495"/>
            <a:ext cx="409376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4575980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82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: Title (3) &amp; Content (3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4093767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724453" y="1931194"/>
            <a:ext cx="7128811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4724453" y="4042705"/>
            <a:ext cx="7128811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4724453" y="2317638"/>
            <a:ext cx="7128811" cy="1483548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38"/>
            <a:ext cx="4094665" cy="3594474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cxnSp>
        <p:nvCxnSpPr>
          <p:cNvPr id="11" name="Straight Connector 9"/>
          <p:cNvCxnSpPr/>
          <p:nvPr userDrawn="1"/>
        </p:nvCxnSpPr>
        <p:spPr bwMode="gray">
          <a:xfrm>
            <a:off x="4725264" y="2238495"/>
            <a:ext cx="71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4725264" y="4349421"/>
            <a:ext cx="71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4724453" y="4428564"/>
            <a:ext cx="7128811" cy="1483548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6" y="1085213"/>
            <a:ext cx="11521161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37" name="Straight Connector 36"/>
          <p:cNvCxnSpPr/>
          <p:nvPr userDrawn="1"/>
        </p:nvCxnSpPr>
        <p:spPr bwMode="gray">
          <a:xfrm>
            <a:off x="4575980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 bwMode="gray">
          <a:xfrm>
            <a:off x="333264" y="2238495"/>
            <a:ext cx="409376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3669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: Title (3) &amp; Content (3) &amp; Bo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/>
          <p:cNvCxnSpPr/>
          <p:nvPr userDrawn="1"/>
        </p:nvCxnSpPr>
        <p:spPr bwMode="gray">
          <a:xfrm>
            <a:off x="4575980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332366" y="5452639"/>
            <a:ext cx="11521161" cy="460800"/>
          </a:xfrm>
          <a:solidFill>
            <a:schemeClr val="accent3"/>
          </a:solidFill>
        </p:spPr>
        <p:txBody>
          <a:bodyPr lIns="0" tIns="0" rIns="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4724930" y="2317641"/>
            <a:ext cx="7128597" cy="1053911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38"/>
            <a:ext cx="4094664" cy="2950979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367" y="1931193"/>
            <a:ext cx="4094664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724930" y="1931193"/>
            <a:ext cx="7129297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4724930" y="3831247"/>
            <a:ext cx="7129297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4724930" y="4214707"/>
            <a:ext cx="7128597" cy="1053911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9" name="Straight Connector 9"/>
          <p:cNvCxnSpPr/>
          <p:nvPr userDrawn="1"/>
        </p:nvCxnSpPr>
        <p:spPr bwMode="gray">
          <a:xfrm>
            <a:off x="4724930" y="2238495"/>
            <a:ext cx="71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 bwMode="gray">
          <a:xfrm>
            <a:off x="4727528" y="4136597"/>
            <a:ext cx="71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45" name="Straight Connector 44"/>
          <p:cNvCxnSpPr/>
          <p:nvPr userDrawn="1"/>
        </p:nvCxnSpPr>
        <p:spPr bwMode="gray">
          <a:xfrm>
            <a:off x="333264" y="2238495"/>
            <a:ext cx="409376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0631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: Title (3) &amp; Content (3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184"/>
            <a:ext cx="3643200" cy="3594931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5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5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2317184"/>
            <a:ext cx="3643200" cy="3594931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317184"/>
            <a:ext cx="3643200" cy="3594931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9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35" name="Straight Connector 34"/>
          <p:cNvCxnSpPr/>
          <p:nvPr userDrawn="1"/>
        </p:nvCxnSpPr>
        <p:spPr bwMode="gray">
          <a:xfrm>
            <a:off x="4124130" y="2388386"/>
            <a:ext cx="0" cy="35266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 bwMode="gray">
          <a:xfrm>
            <a:off x="8062662" y="2388386"/>
            <a:ext cx="0" cy="35266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7065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: 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2" y="0"/>
            <a:ext cx="12192000" cy="4610100"/>
          </a:xfrm>
        </p:spPr>
        <p:txBody>
          <a:bodyPr rtlCol="0"/>
          <a:lstStyle/>
          <a:p>
            <a:pPr rtl="0"/>
            <a:r>
              <a:rPr lang="pt"/>
              <a:t>Click icon to add pictur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6"/>
          </p:nvPr>
        </p:nvSpPr>
        <p:spPr bwMode="gray">
          <a:xfrm>
            <a:off x="334963" y="365752"/>
            <a:ext cx="1528942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40519" y="5000633"/>
            <a:ext cx="10112937" cy="224432"/>
          </a:xfrm>
        </p:spPr>
        <p:txBody>
          <a:bodyPr lIns="0" tIns="0" rIns="0" bIns="0" rtlCol="0" anchor="b"/>
          <a:lstStyle>
            <a:lvl1pPr marL="1588" indent="0">
              <a:buFont typeface="Arial" panose="020B0604020202020204" pitchFamily="34" charset="0"/>
              <a:buNone/>
              <a:defRPr sz="1000" cap="all" baseline="0"/>
            </a:lvl1pPr>
            <a:lvl2pPr marL="1588" indent="0">
              <a:buNone/>
              <a:defRPr sz="1000" cap="all" baseline="0"/>
            </a:lvl2pPr>
            <a:lvl3pPr marL="1588" indent="0">
              <a:buNone/>
              <a:defRPr sz="1000" cap="all" baseline="0"/>
            </a:lvl3pPr>
            <a:lvl4pPr marL="1588" indent="0">
              <a:buNone/>
              <a:defRPr sz="1000" cap="all" baseline="0"/>
            </a:lvl4pPr>
            <a:lvl5pPr marL="1588" indent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340519" y="5205566"/>
            <a:ext cx="10112148" cy="504001"/>
          </a:xfrm>
        </p:spPr>
        <p:txBody>
          <a:bodyPr lIns="0" tIns="0" rIns="0" bIns="0" rtlCol="0" anchor="b"/>
          <a:lstStyle>
            <a:lvl1pPr>
              <a:defRPr sz="3200"/>
            </a:lvl1pPr>
          </a:lstStyle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 bwMode="gray">
          <a:xfrm>
            <a:off x="340519" y="5751514"/>
            <a:ext cx="10112147" cy="360865"/>
          </a:xfrm>
        </p:spPr>
        <p:txBody>
          <a:bodyPr lIns="0" tIns="0" rIns="0" bIns="0" rtlCol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40519" y="6109996"/>
            <a:ext cx="10112937" cy="280092"/>
          </a:xfrm>
        </p:spPr>
        <p:txBody>
          <a:bodyPr lIns="0" tIns="0" rIns="0" bIns="0" rtlCol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249357" y="4828013"/>
            <a:ext cx="55097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3200" b="1">
                <a:solidFill>
                  <a:schemeClr val="bg2"/>
                </a:solidFill>
              </a:rPr>
              <a:t>—</a:t>
            </a:r>
            <a:endParaRPr lang="en-US" sz="3200" b="1" dirty="0">
              <a:solidFill>
                <a:schemeClr val="bg2"/>
              </a:solidFill>
            </a:endParaRPr>
          </a:p>
        </p:txBody>
      </p:sp>
      <p:pic>
        <p:nvPicPr>
          <p:cNvPr id="14" name="Picture 19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79643" y="6160150"/>
            <a:ext cx="873621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6892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: Title (3) &amp; Content (3) &amp; Bo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28"/>
          </p:nvPr>
        </p:nvSpPr>
        <p:spPr bwMode="gray">
          <a:xfrm>
            <a:off x="333264" y="5452639"/>
            <a:ext cx="11520263" cy="460800"/>
          </a:xfrm>
          <a:solidFill>
            <a:schemeClr val="accent3"/>
          </a:solidFill>
        </p:spPr>
        <p:txBody>
          <a:bodyPr rtlCol="0" anchor="ctr"/>
          <a:lstStyle>
            <a:lvl1pPr marL="7939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38"/>
            <a:ext cx="3643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5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5" y="2317638"/>
            <a:ext cx="3643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317638"/>
            <a:ext cx="3643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34" name="Straight Connector 33"/>
          <p:cNvCxnSpPr/>
          <p:nvPr userDrawn="1"/>
        </p:nvCxnSpPr>
        <p:spPr bwMode="gray">
          <a:xfrm>
            <a:off x="4124130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 bwMode="gray">
          <a:xfrm>
            <a:off x="8062661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482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: Title (3) &amp; Content (3)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917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38"/>
            <a:ext cx="3643200" cy="3593794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917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2318318"/>
            <a:ext cx="3643200" cy="3593794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917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318318"/>
            <a:ext cx="3643200" cy="3593794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8" name="Gleichschenkliges Dreieck 46"/>
          <p:cNvSpPr/>
          <p:nvPr userDrawn="1"/>
        </p:nvSpPr>
        <p:spPr bwMode="gray">
          <a:xfrm rot="5400000">
            <a:off x="6301200" y="4088360"/>
            <a:ext cx="3522591" cy="124922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19" name="Gleichschenkliges Dreieck 46"/>
          <p:cNvSpPr/>
          <p:nvPr userDrawn="1"/>
        </p:nvSpPr>
        <p:spPr bwMode="gray">
          <a:xfrm rot="5400000">
            <a:off x="2362815" y="4091269"/>
            <a:ext cx="3522591" cy="124922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2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16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: Title (3) &amp; Content (3) &amp; Box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38"/>
            <a:ext cx="3643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5" y="2317638"/>
            <a:ext cx="3643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317638"/>
            <a:ext cx="3643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0" name="Text Placeholder 17"/>
          <p:cNvSpPr>
            <a:spLocks noGrp="1"/>
          </p:cNvSpPr>
          <p:nvPr>
            <p:ph type="body" sz="quarter" idx="28"/>
          </p:nvPr>
        </p:nvSpPr>
        <p:spPr bwMode="gray">
          <a:xfrm>
            <a:off x="332581" y="5452639"/>
            <a:ext cx="11520683" cy="460800"/>
          </a:xfrm>
          <a:solidFill>
            <a:schemeClr val="accent3"/>
          </a:solidFill>
        </p:spPr>
        <p:txBody>
          <a:bodyPr rtlCol="0" anchor="ctr"/>
          <a:lstStyle>
            <a:lvl1pPr marL="7939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19" name="Gleichschenkliges Dreieck 46"/>
          <p:cNvSpPr/>
          <p:nvPr userDrawn="1"/>
        </p:nvSpPr>
        <p:spPr bwMode="gray">
          <a:xfrm rot="5400000">
            <a:off x="6622950" y="3766612"/>
            <a:ext cx="2879092" cy="124922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24" name="Gleichschenkliges Dreieck 46"/>
          <p:cNvSpPr/>
          <p:nvPr userDrawn="1"/>
        </p:nvSpPr>
        <p:spPr bwMode="gray">
          <a:xfrm rot="5400000">
            <a:off x="2684564" y="3769521"/>
            <a:ext cx="2879093" cy="124922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006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: Title (3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333264" y="2317752"/>
            <a:ext cx="3643200" cy="1692493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4271796" y="2317751"/>
            <a:ext cx="3643200" cy="1692493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8210327" y="2317751"/>
            <a:ext cx="3643200" cy="1692493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4239659"/>
            <a:ext cx="3643200" cy="1673783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4239659"/>
            <a:ext cx="3643200" cy="1673783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4239659"/>
            <a:ext cx="3643200" cy="1673783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174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: Title (3) &amp; Content (6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333264" y="2317751"/>
            <a:ext cx="3643200" cy="1692493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4271796" y="2317751"/>
            <a:ext cx="3643200" cy="1692493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8210327" y="2317751"/>
            <a:ext cx="3643200" cy="1692493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4239659"/>
            <a:ext cx="3643200" cy="1028959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4239659"/>
            <a:ext cx="3643200" cy="1028959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4239659"/>
            <a:ext cx="3643200" cy="1028959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1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191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1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5" name="Text Placeholder 17"/>
          <p:cNvSpPr>
            <a:spLocks noGrp="1"/>
          </p:cNvSpPr>
          <p:nvPr>
            <p:ph type="body" sz="quarter" idx="31"/>
          </p:nvPr>
        </p:nvSpPr>
        <p:spPr bwMode="gray">
          <a:xfrm>
            <a:off x="333264" y="5452639"/>
            <a:ext cx="11520000" cy="460800"/>
          </a:xfrm>
          <a:solidFill>
            <a:schemeClr val="accent3"/>
          </a:solidFill>
        </p:spPr>
        <p:txBody>
          <a:bodyPr rtlCol="0" anchor="ctr"/>
          <a:lstStyle>
            <a:lvl1pPr marL="7939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7038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: Content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2367" y="3989616"/>
            <a:ext cx="2655682" cy="1922496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55" y="1931194"/>
            <a:ext cx="2655214" cy="1922496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3139431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291292" y="1931194"/>
            <a:ext cx="5609417" cy="398091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9049511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9197845" y="3989616"/>
            <a:ext cx="2655682" cy="1922496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9198313" y="1931194"/>
            <a:ext cx="2655214" cy="1922496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607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: Title (4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38"/>
            <a:ext cx="2656800" cy="3594474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287752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287752" y="2317638"/>
            <a:ext cx="2656800" cy="3594474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6242240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242240" y="2317638"/>
            <a:ext cx="2656800" cy="3594474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333264" y="2238495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gray">
          <a:xfrm>
            <a:off x="3287752" y="2238495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6242240" y="2238495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 bwMode="gray">
          <a:xfrm>
            <a:off x="9196727" y="2238495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6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9196727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9196727" y="2317638"/>
            <a:ext cx="2656800" cy="3594474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41" name="Straight Connector 40"/>
          <p:cNvCxnSpPr/>
          <p:nvPr userDrawn="1"/>
        </p:nvCxnSpPr>
        <p:spPr bwMode="gray">
          <a:xfrm>
            <a:off x="3138908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 bwMode="gray">
          <a:xfrm>
            <a:off x="9047884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 bwMode="gray">
          <a:xfrm>
            <a:off x="6093396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6481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: Title (4) &amp; Content (4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752"/>
            <a:ext cx="2656800" cy="2950867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333264" y="2238606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 bwMode="gray">
          <a:xfrm>
            <a:off x="9196727" y="2238606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6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9196727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9196727" y="2317752"/>
            <a:ext cx="2656800" cy="2950867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4" name="Text Placeholder 17"/>
          <p:cNvSpPr>
            <a:spLocks noGrp="1"/>
          </p:cNvSpPr>
          <p:nvPr>
            <p:ph type="body" sz="quarter" idx="30"/>
          </p:nvPr>
        </p:nvSpPr>
        <p:spPr bwMode="gray">
          <a:xfrm>
            <a:off x="332366" y="5452639"/>
            <a:ext cx="11520897" cy="460800"/>
          </a:xfrm>
          <a:solidFill>
            <a:schemeClr val="accent3"/>
          </a:solidFill>
        </p:spPr>
        <p:txBody>
          <a:bodyPr rtlCol="0" anchor="ctr"/>
          <a:lstStyle>
            <a:lvl1pPr marL="7939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3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2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3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3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42" name="Straight Connector 41"/>
          <p:cNvCxnSpPr/>
          <p:nvPr userDrawn="1"/>
        </p:nvCxnSpPr>
        <p:spPr bwMode="gray">
          <a:xfrm>
            <a:off x="3138908" y="2388954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 bwMode="gray">
          <a:xfrm>
            <a:off x="9047884" y="2388954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Text Placeholder 11">
            <a:extLst>
              <a:ext uri="{FF2B5EF4-FFF2-40B4-BE49-F238E27FC236}">
                <a16:creationId xmlns:a16="http://schemas.microsoft.com/office/drawing/2014/main" xmlns="" id="{26B94E95-6A25-4904-AFE3-195977ABC0C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3287752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xmlns="" id="{222A44F3-B762-46F9-ACA7-B2B9A6420892}"/>
              </a:ext>
            </a:extLst>
          </p:cNvPr>
          <p:cNvSpPr>
            <a:spLocks noGrp="1"/>
          </p:cNvSpPr>
          <p:nvPr>
            <p:ph sz="quarter" idx="25"/>
          </p:nvPr>
        </p:nvSpPr>
        <p:spPr bwMode="gray">
          <a:xfrm>
            <a:off x="3287752" y="2317752"/>
            <a:ext cx="2656800" cy="2950867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xmlns="" id="{18BA7AC6-D094-4D15-8328-63A04B5C6F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6242240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xmlns="" id="{D1B85285-44C6-4CDF-9DD9-E67C2DC10BE6}"/>
              </a:ext>
            </a:extLst>
          </p:cNvPr>
          <p:cNvSpPr>
            <a:spLocks noGrp="1"/>
          </p:cNvSpPr>
          <p:nvPr>
            <p:ph sz="quarter" idx="27"/>
          </p:nvPr>
        </p:nvSpPr>
        <p:spPr bwMode="gray">
          <a:xfrm>
            <a:off x="6242240" y="2317752"/>
            <a:ext cx="2656800" cy="2950867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AD55C871-7F50-43F7-86D7-A6211B0FAC09}"/>
              </a:ext>
            </a:extLst>
          </p:cNvPr>
          <p:cNvCxnSpPr/>
          <p:nvPr userDrawn="1"/>
        </p:nvCxnSpPr>
        <p:spPr bwMode="gray">
          <a:xfrm>
            <a:off x="3287752" y="2238606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xmlns="" id="{B3205B91-010C-47BF-81E5-2C6E96AB6611}"/>
              </a:ext>
            </a:extLst>
          </p:cNvPr>
          <p:cNvCxnSpPr/>
          <p:nvPr userDrawn="1"/>
        </p:nvCxnSpPr>
        <p:spPr bwMode="gray">
          <a:xfrm>
            <a:off x="6242240" y="2238606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CDB294B8-11F3-4E8F-92E2-265D9BD750F4}"/>
              </a:ext>
            </a:extLst>
          </p:cNvPr>
          <p:cNvCxnSpPr/>
          <p:nvPr userDrawn="1"/>
        </p:nvCxnSpPr>
        <p:spPr bwMode="gray">
          <a:xfrm>
            <a:off x="3138908" y="2388954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xmlns="" id="{B9CB7988-50DF-4EAF-BC8A-E04031F629CE}"/>
              </a:ext>
            </a:extLst>
          </p:cNvPr>
          <p:cNvCxnSpPr/>
          <p:nvPr userDrawn="1"/>
        </p:nvCxnSpPr>
        <p:spPr bwMode="gray">
          <a:xfrm>
            <a:off x="9047884" y="2388954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xmlns="" id="{69FBCE4B-882F-487C-84BF-4C8D53C7D6B4}"/>
              </a:ext>
            </a:extLst>
          </p:cNvPr>
          <p:cNvCxnSpPr/>
          <p:nvPr userDrawn="1"/>
        </p:nvCxnSpPr>
        <p:spPr bwMode="gray">
          <a:xfrm>
            <a:off x="6093396" y="2388954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5734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: Content (3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50004" y="1931197"/>
            <a:ext cx="5603523" cy="1853869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4" y="1931197"/>
            <a:ext cx="5602537" cy="1853869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1931197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32367" y="4064036"/>
            <a:ext cx="11520897" cy="1848076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33527" y="3922317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096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: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259985" y="1931197"/>
            <a:ext cx="3643200" cy="1853869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4" y="1931197"/>
            <a:ext cx="3643200" cy="1853869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4118225" y="1931197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32367" y="4064036"/>
            <a:ext cx="11520897" cy="1848076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33527" y="3922317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8056756" y="1931197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4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8210327" y="1931197"/>
            <a:ext cx="3643200" cy="1853869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787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: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8845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F54DE7E8-58C9-4B5A-B686-53E1B76B68C9}"/>
              </a:ext>
            </a:extLst>
          </p:cNvPr>
          <p:cNvSpPr/>
          <p:nvPr userDrawn="1"/>
        </p:nvSpPr>
        <p:spPr bwMode="gray">
          <a:xfrm>
            <a:off x="244800" y="414450"/>
            <a:ext cx="413300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3200" b="1">
                <a:solidFill>
                  <a:schemeClr val="bg1"/>
                </a:solidFill>
              </a:rPr>
              <a:t>—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26BA06A1-F808-4CBA-9D28-8D357F795D4C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5756" y="718060"/>
            <a:ext cx="11521282" cy="504000"/>
          </a:xfrm>
        </p:spPr>
        <p:txBody>
          <a:bodyPr lIns="0" tIns="0" rIns="0" bIns="0" rtlCol="0"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xmlns="" id="{F7CD425E-9028-4049-A9A0-DC6F9DF08061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5757" y="1264007"/>
            <a:ext cx="11521281" cy="360865"/>
          </a:xfrm>
        </p:spPr>
        <p:txBody>
          <a:bodyPr lIns="0" tIns="0" rIns="0" bIns="0" rtlCol="0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0332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: Content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64" y="1932098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333527" y="3925094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287752" y="1932849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64" y="4016596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287752" y="4017347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5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6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24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242240" y="1932098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5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9196727" y="1932849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6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6242240" y="4016596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7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9196727" y="4017347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55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: Title (4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333264" y="4045107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248045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333264" y="4432235"/>
            <a:ext cx="5605200" cy="1484195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38"/>
            <a:ext cx="5605200" cy="1484876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333264" y="223917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333264" y="4348008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6248045" y="223917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6248045" y="2317641"/>
            <a:ext cx="5605200" cy="1481057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1159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cxnSp>
        <p:nvCxnSpPr>
          <p:cNvPr id="32" name="Straight Connector 31"/>
          <p:cNvCxnSpPr/>
          <p:nvPr userDrawn="1"/>
        </p:nvCxnSpPr>
        <p:spPr bwMode="gray">
          <a:xfrm>
            <a:off x="6095999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6248045" y="4043972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9" name="Straight Connector 14"/>
          <p:cNvCxnSpPr/>
          <p:nvPr userDrawn="1"/>
        </p:nvCxnSpPr>
        <p:spPr bwMode="gray">
          <a:xfrm>
            <a:off x="6248045" y="4351954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Content Placeholder 15"/>
          <p:cNvSpPr>
            <a:spLocks noGrp="1"/>
          </p:cNvSpPr>
          <p:nvPr>
            <p:ph sz="quarter" idx="23"/>
          </p:nvPr>
        </p:nvSpPr>
        <p:spPr bwMode="gray">
          <a:xfrm>
            <a:off x="6248045" y="4430420"/>
            <a:ext cx="5605200" cy="1481057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212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: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64" y="1931195"/>
            <a:ext cx="5619398" cy="1853868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95999" y="1931195"/>
            <a:ext cx="0" cy="398224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 bwMode="gray">
          <a:xfrm>
            <a:off x="333527" y="3922317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34129" y="1931195"/>
            <a:ext cx="5619398" cy="1853868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64" y="4059571"/>
            <a:ext cx="5619398" cy="1853868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6234129" y="4059571"/>
            <a:ext cx="5619398" cy="1853868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5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6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52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: Content (4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64" y="1931198"/>
            <a:ext cx="5621183" cy="1530893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32344" y="1931198"/>
            <a:ext cx="5621183" cy="1530893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64" y="3737725"/>
            <a:ext cx="5621183" cy="1530893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6232344" y="3737725"/>
            <a:ext cx="5621183" cy="1530893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32367" y="5452639"/>
            <a:ext cx="11521160" cy="460800"/>
          </a:xfrm>
          <a:solidFill>
            <a:schemeClr val="accent3"/>
          </a:solidFill>
        </p:spPr>
        <p:txBody>
          <a:bodyPr lIns="0" tIns="0" rIns="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3" name="Straight Connector 22"/>
          <p:cNvCxnSpPr/>
          <p:nvPr userDrawn="1"/>
        </p:nvCxnSpPr>
        <p:spPr bwMode="gray">
          <a:xfrm>
            <a:off x="333527" y="3599905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25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7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95999" y="1931195"/>
            <a:ext cx="0" cy="333742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6" y="1085213"/>
            <a:ext cx="11521161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383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: Title (2) &amp;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3" y="1931196"/>
            <a:ext cx="5361993" cy="191932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3" y="3993324"/>
            <a:ext cx="5361993" cy="191932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1798" y="3921919"/>
            <a:ext cx="53604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 userDrawn="1">
            <p:ph sz="quarter" idx="23"/>
          </p:nvPr>
        </p:nvSpPr>
        <p:spPr bwMode="gray">
          <a:xfrm>
            <a:off x="332582" y="1931196"/>
            <a:ext cx="1918800" cy="1919320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6" name="Content Placeholder 3"/>
          <p:cNvSpPr>
            <a:spLocks noGrp="1"/>
          </p:cNvSpPr>
          <p:nvPr userDrawn="1">
            <p:ph sz="quarter" idx="24"/>
          </p:nvPr>
        </p:nvSpPr>
        <p:spPr bwMode="gray">
          <a:xfrm>
            <a:off x="332582" y="3993324"/>
            <a:ext cx="1918800" cy="1919320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26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27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28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332366" y="1085213"/>
            <a:ext cx="11521161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8218509" y="1931196"/>
            <a:ext cx="3634755" cy="398144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095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: Title (3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3" y="1931196"/>
            <a:ext cx="5361993" cy="123194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3" y="3305949"/>
            <a:ext cx="5361993" cy="123194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3273" y="4680702"/>
            <a:ext cx="5361993" cy="123194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4866" y="3235138"/>
            <a:ext cx="53604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2554866" y="4611082"/>
            <a:ext cx="53604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 userDrawn="1">
            <p:ph sz="quarter" idx="23"/>
          </p:nvPr>
        </p:nvSpPr>
        <p:spPr bwMode="gray">
          <a:xfrm>
            <a:off x="332367" y="1931196"/>
            <a:ext cx="1917663" cy="1231942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6" name="Content Placeholder 3"/>
          <p:cNvSpPr>
            <a:spLocks noGrp="1"/>
          </p:cNvSpPr>
          <p:nvPr userDrawn="1">
            <p:ph sz="quarter" idx="24"/>
          </p:nvPr>
        </p:nvSpPr>
        <p:spPr bwMode="gray">
          <a:xfrm>
            <a:off x="332367" y="3305949"/>
            <a:ext cx="1917663" cy="1231942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7" name="Content Placeholder 3"/>
          <p:cNvSpPr>
            <a:spLocks noGrp="1"/>
          </p:cNvSpPr>
          <p:nvPr userDrawn="1">
            <p:ph sz="quarter" idx="25"/>
          </p:nvPr>
        </p:nvSpPr>
        <p:spPr bwMode="gray">
          <a:xfrm>
            <a:off x="332367" y="4680702"/>
            <a:ext cx="1917663" cy="1231942"/>
          </a:xfrm>
        </p:spPr>
        <p:txBody>
          <a:bodyPr lIns="0" tIns="0" rIns="0" bIns="0" rtlCol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26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27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28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8218509" y="1931196"/>
            <a:ext cx="3634755" cy="398144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968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: Title (3) &amp; Content (3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3" y="1931196"/>
            <a:ext cx="9299991" cy="90431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4464" y="2897645"/>
            <a:ext cx="9298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3" y="2959784"/>
            <a:ext cx="9299991" cy="90431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3273" y="5008334"/>
            <a:ext cx="9299991" cy="90431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2554464" y="4950508"/>
            <a:ext cx="9298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1931196"/>
            <a:ext cx="1916766" cy="904310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33264" y="2959784"/>
            <a:ext cx="1916766" cy="904310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33264" y="5008334"/>
            <a:ext cx="1916766" cy="904310"/>
          </a:xfrm>
        </p:spPr>
        <p:txBody>
          <a:bodyPr lIns="0" tIns="0" rIns="0" bIns="0" rtlCol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6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7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xmlns="" id="{503435F5-491D-4553-B17E-FB956FCBCBBC}"/>
              </a:ext>
            </a:extLst>
          </p:cNvPr>
          <p:cNvSpPr>
            <a:spLocks noGrp="1"/>
          </p:cNvSpPr>
          <p:nvPr>
            <p:ph sz="quarter" idx="29"/>
          </p:nvPr>
        </p:nvSpPr>
        <p:spPr bwMode="gray">
          <a:xfrm>
            <a:off x="2553273" y="3988372"/>
            <a:ext cx="9299991" cy="90431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xmlns="" id="{9B59B16F-4779-46CA-923E-A15821B3AC97}"/>
              </a:ext>
            </a:extLst>
          </p:cNvPr>
          <p:cNvSpPr>
            <a:spLocks noGrp="1"/>
          </p:cNvSpPr>
          <p:nvPr>
            <p:ph sz="quarter" idx="30"/>
          </p:nvPr>
        </p:nvSpPr>
        <p:spPr bwMode="gray">
          <a:xfrm>
            <a:off x="333264" y="3988372"/>
            <a:ext cx="1916766" cy="904310"/>
          </a:xfrm>
        </p:spPr>
        <p:txBody>
          <a:bodyPr lIns="0" tIns="0" rIns="0" bIns="0" rtlCol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B837C483-EB87-4998-B77D-080D46610ABF}"/>
              </a:ext>
            </a:extLst>
          </p:cNvPr>
          <p:cNvCxnSpPr/>
          <p:nvPr userDrawn="1"/>
        </p:nvCxnSpPr>
        <p:spPr bwMode="gray">
          <a:xfrm>
            <a:off x="2554465" y="3926233"/>
            <a:ext cx="9298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756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: Title (3) &amp; Content (3) &amp; Bo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3" y="1931196"/>
            <a:ext cx="9299991" cy="101647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4464" y="3019668"/>
            <a:ext cx="9298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3" y="3091669"/>
            <a:ext cx="9299991" cy="101647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3273" y="4252143"/>
            <a:ext cx="9299991" cy="101647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2554464" y="4180142"/>
            <a:ext cx="9298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1931196"/>
            <a:ext cx="1916766" cy="1016472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33264" y="3091669"/>
            <a:ext cx="1916766" cy="1016472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33264" y="4252143"/>
            <a:ext cx="1916766" cy="1016472"/>
          </a:xfrm>
        </p:spPr>
        <p:txBody>
          <a:bodyPr lIns="0" tIns="0" rIns="0" bIns="0" rtlCol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332366" y="5452639"/>
            <a:ext cx="11520898" cy="460800"/>
          </a:xfrm>
          <a:solidFill>
            <a:schemeClr val="accent3"/>
          </a:solidFill>
        </p:spPr>
        <p:txBody>
          <a:bodyPr lIns="0" tIns="0" rIns="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7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8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9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4856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: Title (4) &amp; Content (4) &amp; Box /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818583" y="1931198"/>
            <a:ext cx="9034681" cy="726353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818583" y="2801554"/>
            <a:ext cx="9034681" cy="726353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818583" y="3671910"/>
            <a:ext cx="9034681" cy="726353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332367" y="5452639"/>
            <a:ext cx="11520898" cy="460800"/>
          </a:xfrm>
          <a:solidFill>
            <a:schemeClr val="accent3"/>
          </a:solidFill>
        </p:spPr>
        <p:txBody>
          <a:bodyPr lIns="0" tIns="0" rIns="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3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332582" y="1931198"/>
            <a:ext cx="1535879" cy="726353"/>
          </a:xfrm>
        </p:spPr>
        <p:txBody>
          <a:bodyPr lIns="0" tIns="0" rIns="0" bIns="0" rtlCol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5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332582" y="2801554"/>
            <a:ext cx="1535879" cy="726353"/>
          </a:xfrm>
        </p:spPr>
        <p:txBody>
          <a:bodyPr lIns="0" tIns="0" rIns="0" bIns="0" rtlCol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332582" y="3671910"/>
            <a:ext cx="1535879" cy="726353"/>
          </a:xfrm>
        </p:spPr>
        <p:txBody>
          <a:bodyPr lIns="0" tIns="0" rIns="0" bIns="0" rtlCol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7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2818583" y="4542265"/>
            <a:ext cx="9034681" cy="726353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8" name="Content Placeholder 3"/>
          <p:cNvSpPr>
            <a:spLocks noGrp="1"/>
          </p:cNvSpPr>
          <p:nvPr>
            <p:ph sz="quarter" idx="31"/>
          </p:nvPr>
        </p:nvSpPr>
        <p:spPr bwMode="gray">
          <a:xfrm>
            <a:off x="332582" y="4542265"/>
            <a:ext cx="1535879" cy="726353"/>
          </a:xfrm>
        </p:spPr>
        <p:txBody>
          <a:bodyPr lIns="0" tIns="0" rIns="0" bIns="0" rtlCol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41" name="Straight Connector 13"/>
          <p:cNvCxnSpPr/>
          <p:nvPr userDrawn="1"/>
        </p:nvCxnSpPr>
        <p:spPr bwMode="gray">
          <a:xfrm>
            <a:off x="1999567" y="4542262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2" name="Straight Connector 14"/>
          <p:cNvCxnSpPr/>
          <p:nvPr userDrawn="1"/>
        </p:nvCxnSpPr>
        <p:spPr bwMode="gray">
          <a:xfrm>
            <a:off x="1778487" y="4905862"/>
            <a:ext cx="220918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Straight Connector 13"/>
          <p:cNvCxnSpPr/>
          <p:nvPr userDrawn="1"/>
        </p:nvCxnSpPr>
        <p:spPr bwMode="gray">
          <a:xfrm>
            <a:off x="1999568" y="3671624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Straight Connector 14"/>
          <p:cNvCxnSpPr/>
          <p:nvPr userDrawn="1"/>
        </p:nvCxnSpPr>
        <p:spPr bwMode="gray">
          <a:xfrm>
            <a:off x="1778487" y="4035224"/>
            <a:ext cx="220918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2072427" y="2729549"/>
            <a:ext cx="978083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 userDrawn="1"/>
        </p:nvCxnSpPr>
        <p:spPr bwMode="gray">
          <a:xfrm>
            <a:off x="2072427" y="3599904"/>
            <a:ext cx="978083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 userDrawn="1"/>
        </p:nvCxnSpPr>
        <p:spPr bwMode="gray">
          <a:xfrm>
            <a:off x="2072427" y="4470259"/>
            <a:ext cx="978083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 userDrawn="1">
            <p:ph type="dt" sz="half" idx="32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33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34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34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5" hasCustomPrompt="1"/>
          </p:nvPr>
        </p:nvSpPr>
        <p:spPr>
          <a:xfrm>
            <a:off x="2218077" y="2100061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rtlCol="0"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 rtl="0"/>
            <a:r>
              <a:rPr lang="pt"/>
              <a:t>1</a:t>
            </a:r>
            <a:endParaRPr lang="en-GB"/>
          </a:p>
        </p:txBody>
      </p:sp>
      <p:sp>
        <p:nvSpPr>
          <p:cNvPr id="54" name="Content Placeholder 6"/>
          <p:cNvSpPr>
            <a:spLocks noGrp="1"/>
          </p:cNvSpPr>
          <p:nvPr>
            <p:ph sz="quarter" idx="36" hasCustomPrompt="1"/>
          </p:nvPr>
        </p:nvSpPr>
        <p:spPr>
          <a:xfrm>
            <a:off x="2218077" y="2971986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rtlCol="0"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 rtl="0"/>
            <a:r>
              <a:rPr lang="pt"/>
              <a:t>2</a:t>
            </a:r>
            <a:endParaRPr lang="en-GB"/>
          </a:p>
        </p:txBody>
      </p:sp>
      <p:sp>
        <p:nvSpPr>
          <p:cNvPr id="55" name="Content Placeholder 6"/>
          <p:cNvSpPr>
            <a:spLocks noGrp="1"/>
          </p:cNvSpPr>
          <p:nvPr>
            <p:ph sz="quarter" idx="37" hasCustomPrompt="1"/>
          </p:nvPr>
        </p:nvSpPr>
        <p:spPr>
          <a:xfrm>
            <a:off x="2218077" y="3843416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rtlCol="0"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 rtl="0"/>
            <a:r>
              <a:rPr lang="pt"/>
              <a:t>3</a:t>
            </a:r>
            <a:endParaRPr lang="en-GB"/>
          </a:p>
        </p:txBody>
      </p:sp>
      <p:sp>
        <p:nvSpPr>
          <p:cNvPr id="56" name="Content Placeholder 6"/>
          <p:cNvSpPr>
            <a:spLocks noGrp="1"/>
          </p:cNvSpPr>
          <p:nvPr>
            <p:ph sz="quarter" idx="38" hasCustomPrompt="1"/>
          </p:nvPr>
        </p:nvSpPr>
        <p:spPr>
          <a:xfrm>
            <a:off x="2218077" y="4708172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rtlCol="0"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 rtl="0"/>
            <a:r>
              <a:rPr lang="pt"/>
              <a:t>4</a:t>
            </a:r>
            <a:endParaRPr lang="en-GB"/>
          </a:p>
        </p:txBody>
      </p:sp>
      <p:cxnSp>
        <p:nvCxnSpPr>
          <p:cNvPr id="29" name="Straight Connector 13">
            <a:extLst>
              <a:ext uri="{FF2B5EF4-FFF2-40B4-BE49-F238E27FC236}">
                <a16:creationId xmlns:a16="http://schemas.microsoft.com/office/drawing/2014/main" xmlns="" id="{07024B56-75F8-47DC-A217-683C1BDC6C64}"/>
              </a:ext>
            </a:extLst>
          </p:cNvPr>
          <p:cNvCxnSpPr/>
          <p:nvPr userDrawn="1"/>
        </p:nvCxnSpPr>
        <p:spPr bwMode="gray">
          <a:xfrm>
            <a:off x="1999567" y="2800986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Straight Connector 14">
            <a:extLst>
              <a:ext uri="{FF2B5EF4-FFF2-40B4-BE49-F238E27FC236}">
                <a16:creationId xmlns:a16="http://schemas.microsoft.com/office/drawing/2014/main" xmlns="" id="{3FADD552-DD17-40B4-BA7D-DDDE41EFD7FC}"/>
              </a:ext>
            </a:extLst>
          </p:cNvPr>
          <p:cNvCxnSpPr/>
          <p:nvPr userDrawn="1"/>
        </p:nvCxnSpPr>
        <p:spPr bwMode="gray">
          <a:xfrm>
            <a:off x="1779054" y="3164586"/>
            <a:ext cx="220918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1" name="Straight Connector 13">
            <a:extLst>
              <a:ext uri="{FF2B5EF4-FFF2-40B4-BE49-F238E27FC236}">
                <a16:creationId xmlns:a16="http://schemas.microsoft.com/office/drawing/2014/main" xmlns="" id="{5523BA04-C2BA-405D-BC24-227CF72333F9}"/>
              </a:ext>
            </a:extLst>
          </p:cNvPr>
          <p:cNvCxnSpPr/>
          <p:nvPr userDrawn="1"/>
        </p:nvCxnSpPr>
        <p:spPr bwMode="gray">
          <a:xfrm>
            <a:off x="1999567" y="1930348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2" name="Straight Connector 14">
            <a:extLst>
              <a:ext uri="{FF2B5EF4-FFF2-40B4-BE49-F238E27FC236}">
                <a16:creationId xmlns:a16="http://schemas.microsoft.com/office/drawing/2014/main" xmlns="" id="{CB53CC5C-A050-42FD-ACCF-CC93E5938F7E}"/>
              </a:ext>
            </a:extLst>
          </p:cNvPr>
          <p:cNvCxnSpPr/>
          <p:nvPr userDrawn="1"/>
        </p:nvCxnSpPr>
        <p:spPr bwMode="gray">
          <a:xfrm>
            <a:off x="1779502" y="2293948"/>
            <a:ext cx="220918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4033298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: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2553272" y="1931194"/>
            <a:ext cx="2899094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27"/>
          </p:nvPr>
        </p:nvSpPr>
        <p:spPr bwMode="gray">
          <a:xfrm>
            <a:off x="5754947" y="1931194"/>
            <a:ext cx="28980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9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8955527" y="1931194"/>
            <a:ext cx="28980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2" y="2317748"/>
            <a:ext cx="2903803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3" y="3573970"/>
            <a:ext cx="2903803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3273" y="4830194"/>
            <a:ext cx="2903803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1931196"/>
            <a:ext cx="1916766" cy="1231942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33264" y="3305949"/>
            <a:ext cx="1916766" cy="1231942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33264" y="4680702"/>
            <a:ext cx="1916766" cy="1231942"/>
          </a:xfrm>
        </p:spPr>
        <p:txBody>
          <a:bodyPr lIns="0" tIns="0" rIns="0" bIns="0" rtlCol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8" name="Straight Connector 27"/>
          <p:cNvCxnSpPr/>
          <p:nvPr userDrawn="1"/>
        </p:nvCxnSpPr>
        <p:spPr bwMode="gray">
          <a:xfrm>
            <a:off x="2553272" y="2238607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 bwMode="gray">
          <a:xfrm>
            <a:off x="2550359" y="3487659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 bwMode="gray">
          <a:xfrm>
            <a:off x="2550359" y="4743881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 bwMode="gray">
          <a:xfrm>
            <a:off x="5754400" y="2238607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 bwMode="gray">
          <a:xfrm>
            <a:off x="5752943" y="3487659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 bwMode="gray">
          <a:xfrm>
            <a:off x="5752943" y="4743881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 bwMode="gray">
          <a:xfrm>
            <a:off x="8955527" y="2238607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 bwMode="gray">
          <a:xfrm>
            <a:off x="8955527" y="3487659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 bwMode="gray">
          <a:xfrm>
            <a:off x="8955527" y="4743881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3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5757301" y="2317748"/>
            <a:ext cx="2898000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44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5757302" y="3573970"/>
            <a:ext cx="2898000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45" name="Content Placeholder 3"/>
          <p:cNvSpPr>
            <a:spLocks noGrp="1"/>
          </p:cNvSpPr>
          <p:nvPr>
            <p:ph sz="quarter" idx="31"/>
          </p:nvPr>
        </p:nvSpPr>
        <p:spPr bwMode="gray">
          <a:xfrm>
            <a:off x="5757302" y="4830194"/>
            <a:ext cx="2898000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46" name="Content Placeholder 3"/>
          <p:cNvSpPr>
            <a:spLocks noGrp="1"/>
          </p:cNvSpPr>
          <p:nvPr>
            <p:ph sz="quarter" idx="32"/>
          </p:nvPr>
        </p:nvSpPr>
        <p:spPr bwMode="gray">
          <a:xfrm>
            <a:off x="8955527" y="2317748"/>
            <a:ext cx="2898000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47" name="Content Placeholder 3"/>
          <p:cNvSpPr>
            <a:spLocks noGrp="1"/>
          </p:cNvSpPr>
          <p:nvPr>
            <p:ph sz="quarter" idx="33"/>
          </p:nvPr>
        </p:nvSpPr>
        <p:spPr bwMode="gray">
          <a:xfrm>
            <a:off x="8955527" y="3573970"/>
            <a:ext cx="2898000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48" name="Content Placeholder 3"/>
          <p:cNvSpPr>
            <a:spLocks noGrp="1"/>
          </p:cNvSpPr>
          <p:nvPr>
            <p:ph sz="quarter" idx="34"/>
          </p:nvPr>
        </p:nvSpPr>
        <p:spPr bwMode="gray">
          <a:xfrm>
            <a:off x="8955527" y="4830194"/>
            <a:ext cx="2898000" cy="10836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35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6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7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4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544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: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gray">
          <a:xfrm>
            <a:off x="2" y="0"/>
            <a:ext cx="12192000" cy="6858000"/>
          </a:xfrm>
          <a:prstGeom prst="rect">
            <a:avLst/>
          </a:prstGeom>
          <a:solidFill>
            <a:srgbClr val="FF000F"/>
          </a:solidFill>
          <a:ln w="25400" cap="flat" cmpd="sng" algn="ctr">
            <a:noFill/>
            <a:prstDash val="solid"/>
          </a:ln>
          <a:effectLst/>
        </p:spPr>
        <p:txBody>
          <a:bodyPr lIns="72009" tIns="72009" rIns="72009" bIns="72009" rtlCol="0" anchor="ctr"/>
          <a:lstStyle/>
          <a:p>
            <a:pPr marL="0" marR="0" lvl="0" indent="0" algn="ctr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94A90620-6E53-42BB-807B-70CAD0710CDD}"/>
              </a:ext>
            </a:extLst>
          </p:cNvPr>
          <p:cNvSpPr/>
          <p:nvPr userDrawn="1"/>
        </p:nvSpPr>
        <p:spPr bwMode="gray">
          <a:xfrm>
            <a:off x="244800" y="414450"/>
            <a:ext cx="413300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3200" b="1">
                <a:solidFill>
                  <a:schemeClr val="bg1"/>
                </a:solidFill>
              </a:rPr>
              <a:t>—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6B34BC21-AFED-46B1-8268-92A7B5BBDEE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5756" y="718060"/>
            <a:ext cx="11521282" cy="504000"/>
          </a:xfrm>
        </p:spPr>
        <p:txBody>
          <a:bodyPr lIns="0" tIns="0" rIns="0" bIns="0" rtlCol="0"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0C1FE702-2A26-4886-8C77-E6510DB1849C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5757" y="1264007"/>
            <a:ext cx="11521281" cy="360865"/>
          </a:xfrm>
        </p:spPr>
        <p:txBody>
          <a:bodyPr lIns="0" tIns="0" rIns="0" bIns="0" rtlCol="0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1291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: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945"/>
            <a:ext cx="3643200" cy="360000"/>
          </a:xfrm>
          <a:prstGeom prst="homePlate">
            <a:avLst/>
          </a:prstGeom>
          <a:solidFill>
            <a:schemeClr val="accent4"/>
          </a:solidFill>
        </p:spPr>
        <p:txBody>
          <a:bodyPr lIns="28800" tIns="0" rIns="2880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945"/>
            <a:ext cx="3643200" cy="360000"/>
          </a:xfrm>
          <a:prstGeom prst="chevron">
            <a:avLst/>
          </a:prstGeom>
          <a:solidFill>
            <a:schemeClr val="accent4"/>
          </a:solidFill>
        </p:spPr>
        <p:txBody>
          <a:bodyPr lIns="28800" tIns="0" rIns="2880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945"/>
            <a:ext cx="3643200" cy="360000"/>
          </a:xfrm>
          <a:prstGeom prst="chevron">
            <a:avLst/>
          </a:prstGeom>
          <a:solidFill>
            <a:schemeClr val="accent4"/>
          </a:solidFill>
        </p:spPr>
        <p:txBody>
          <a:bodyPr lIns="28800" tIns="0" rIns="2880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</p:spPr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402146"/>
            <a:ext cx="3643200" cy="3511294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2402146"/>
            <a:ext cx="3643200" cy="3511294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402146"/>
            <a:ext cx="3643200" cy="3511294"/>
          </a:xfrm>
        </p:spPr>
        <p:txBody>
          <a:bodyPr lIns="0" tIns="0" rIns="0" bIns="0"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cxnSp>
        <p:nvCxnSpPr>
          <p:cNvPr id="27" name="Straight Connector 26"/>
          <p:cNvCxnSpPr/>
          <p:nvPr userDrawn="1"/>
        </p:nvCxnSpPr>
        <p:spPr bwMode="gray">
          <a:xfrm>
            <a:off x="4124130" y="2473348"/>
            <a:ext cx="0" cy="344009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 bwMode="gray">
          <a:xfrm>
            <a:off x="8062662" y="2473348"/>
            <a:ext cx="0" cy="344009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577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2: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 bwMode="gray">
          <a:xfrm>
            <a:off x="2" y="0"/>
            <a:ext cx="12192000" cy="6858000"/>
          </a:xfrm>
          <a:custGeom>
            <a:avLst/>
            <a:gdLst>
              <a:gd name="connsiteX0" fmla="*/ 334746 w 12192000"/>
              <a:gd name="connsiteY0" fmla="*/ 530044 h 6858000"/>
              <a:gd name="connsiteX1" fmla="*/ 334746 w 12192000"/>
              <a:gd name="connsiteY1" fmla="*/ 558844 h 6858000"/>
              <a:gd name="connsiteX2" fmla="*/ 561546 w 12192000"/>
              <a:gd name="connsiteY2" fmla="*/ 558844 h 6858000"/>
              <a:gd name="connsiteX3" fmla="*/ 561546 w 12192000"/>
              <a:gd name="connsiteY3" fmla="*/ 530044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4746" y="530044"/>
                </a:moveTo>
                <a:lnTo>
                  <a:pt x="334746" y="558844"/>
                </a:lnTo>
                <a:lnTo>
                  <a:pt x="561546" y="558844"/>
                </a:lnTo>
                <a:lnTo>
                  <a:pt x="561546" y="530044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rtlCol="0">
            <a:noAutofit/>
          </a:bodyPr>
          <a:lstStyle/>
          <a:p>
            <a:pPr rtl="0"/>
            <a:r>
              <a:rPr lang="pt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2366" y="622788"/>
            <a:ext cx="11520898" cy="396000"/>
          </a:xfrm>
        </p:spPr>
        <p:txBody>
          <a:bodyPr rtlCol="0"/>
          <a:lstStyle>
            <a:lvl1pPr>
              <a:defRPr sz="1800"/>
            </a:lvl1pPr>
          </a:lstStyle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gray"/>
        <p:txBody>
          <a:bodyPr rtlCol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gray"/>
        <p:txBody>
          <a:bodyPr rtlCol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 rtl="0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gray"/>
        <p:txBody>
          <a:bodyPr rtlCol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gray">
          <a:xfrm>
            <a:off x="242214" y="447781"/>
            <a:ext cx="55097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1800" b="1">
                <a:solidFill>
                  <a:srgbClr val="FF0000"/>
                </a:solidFill>
              </a:rPr>
              <a:t>—</a:t>
            </a:r>
            <a:endParaRPr lang="en-US" sz="1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371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6464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4: 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pic>
        <p:nvPicPr>
          <p:cNvPr id="7" name="Picture 19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47616" y="2793573"/>
            <a:ext cx="3296776" cy="1264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4793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4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277056" y="1816571"/>
            <a:ext cx="11630729" cy="40968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 bwMode="gray">
          <a:xfrm>
            <a:off x="257879" y="1120928"/>
            <a:ext cx="11649905" cy="504000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7879" y="637076"/>
            <a:ext cx="11649905" cy="4108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F0F7C878-2F48-47C1-A60E-F6C764D931DE}" type="datetime4">
              <a:rPr lang="en-US" smtClean="0"/>
              <a:t>June 18, 2021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3507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 bwMode="gray">
          <a:xfrm>
            <a:off x="334963" y="365752"/>
            <a:ext cx="1528942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40519" y="5000633"/>
            <a:ext cx="10112937" cy="224432"/>
          </a:xfrm>
        </p:spPr>
        <p:txBody>
          <a:bodyPr lIns="0" tIns="0" rIns="0" bIns="0" rtlCol="0" anchor="b"/>
          <a:lstStyle>
            <a:lvl1pPr marL="1588" indent="0">
              <a:buFont typeface="Arial" panose="020B0604020202020204" pitchFamily="34" charset="0"/>
              <a:buNone/>
              <a:defRPr sz="1000" cap="all" baseline="0"/>
            </a:lvl1pPr>
            <a:lvl2pPr marL="1588" indent="0">
              <a:buNone/>
              <a:defRPr sz="1000" cap="all" baseline="0"/>
            </a:lvl2pPr>
            <a:lvl3pPr marL="1588" indent="0">
              <a:buNone/>
              <a:defRPr sz="1000" cap="all" baseline="0"/>
            </a:lvl3pPr>
            <a:lvl4pPr marL="1588" indent="0">
              <a:buNone/>
              <a:defRPr sz="1000" cap="all" baseline="0"/>
            </a:lvl4pPr>
            <a:lvl5pPr marL="1588" indent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40519" y="5205567"/>
            <a:ext cx="10112148" cy="504000"/>
          </a:xfrm>
        </p:spPr>
        <p:txBody>
          <a:bodyPr lIns="0" tIns="0" rIns="0" bIns="0" rtlCol="0" anchor="b"/>
          <a:lstStyle>
            <a:lvl1pPr>
              <a:defRPr sz="3200"/>
            </a:lvl1pPr>
          </a:lstStyle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40520" y="5751514"/>
            <a:ext cx="10112147" cy="360865"/>
          </a:xfrm>
        </p:spPr>
        <p:txBody>
          <a:bodyPr lIns="0" tIns="0" rIns="0" bIns="0" rtlCol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40519" y="6109996"/>
            <a:ext cx="10112937" cy="280092"/>
          </a:xfrm>
        </p:spPr>
        <p:txBody>
          <a:bodyPr lIns="0" tIns="0" rIns="0" bIns="0" rtlCol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 bwMode="gray">
          <a:xfrm>
            <a:off x="249357" y="4828013"/>
            <a:ext cx="55097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3200" b="1">
                <a:solidFill>
                  <a:schemeClr val="bg2"/>
                </a:solidFill>
              </a:rPr>
              <a:t>—</a:t>
            </a:r>
            <a:endParaRPr lang="en-US" sz="3200" b="1" dirty="0">
              <a:solidFill>
                <a:schemeClr val="bg2"/>
              </a:solidFill>
            </a:endParaRPr>
          </a:p>
        </p:txBody>
      </p:sp>
      <p:pic>
        <p:nvPicPr>
          <p:cNvPr id="10" name="Picture 1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79643" y="6160150"/>
            <a:ext cx="873621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5857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: 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Placeholder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" y="0"/>
            <a:ext cx="12192000" cy="4610100"/>
          </a:xfrm>
          <a:prstGeom prst="rect">
            <a:avLst/>
          </a:prstGeom>
        </p:spPr>
      </p:pic>
      <p:sp>
        <p:nvSpPr>
          <p:cNvPr id="22" name="Text Placeholder 5"/>
          <p:cNvSpPr>
            <a:spLocks noGrp="1"/>
          </p:cNvSpPr>
          <p:nvPr>
            <p:ph type="body" sz="quarter" idx="16"/>
          </p:nvPr>
        </p:nvSpPr>
        <p:spPr bwMode="gray">
          <a:xfrm>
            <a:off x="335757" y="365752"/>
            <a:ext cx="1528942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40519" y="5000633"/>
            <a:ext cx="10112937" cy="224432"/>
          </a:xfrm>
        </p:spPr>
        <p:txBody>
          <a:bodyPr lIns="0" tIns="0" rIns="0" bIns="0" rtlCol="0" anchor="b"/>
          <a:lstStyle>
            <a:lvl1pPr marL="1588" indent="0">
              <a:buFont typeface="Arial" panose="020B0604020202020204" pitchFamily="34" charset="0"/>
              <a:buNone/>
              <a:defRPr sz="1000" cap="all" baseline="0"/>
            </a:lvl1pPr>
            <a:lvl2pPr marL="1588" indent="0">
              <a:buNone/>
              <a:defRPr sz="1000" cap="all" baseline="0"/>
            </a:lvl2pPr>
            <a:lvl3pPr marL="1588" indent="0">
              <a:buNone/>
              <a:defRPr sz="1000" cap="all" baseline="0"/>
            </a:lvl3pPr>
            <a:lvl4pPr marL="1588" indent="0">
              <a:buNone/>
              <a:defRPr sz="1000" cap="all" baseline="0"/>
            </a:lvl4pPr>
            <a:lvl5pPr marL="1588" indent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340519" y="5205566"/>
            <a:ext cx="10112148" cy="504001"/>
          </a:xfrm>
        </p:spPr>
        <p:txBody>
          <a:bodyPr lIns="0" tIns="0" rIns="0" bIns="0" rtlCol="0" anchor="b"/>
          <a:lstStyle>
            <a:lvl1pPr>
              <a:defRPr sz="3200"/>
            </a:lvl1pPr>
          </a:lstStyle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 bwMode="gray">
          <a:xfrm>
            <a:off x="340519" y="5751514"/>
            <a:ext cx="10112147" cy="360865"/>
          </a:xfrm>
        </p:spPr>
        <p:txBody>
          <a:bodyPr lIns="0" tIns="0" rIns="0" bIns="0" rtlCol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40519" y="6109996"/>
            <a:ext cx="10112937" cy="280092"/>
          </a:xfrm>
        </p:spPr>
        <p:txBody>
          <a:bodyPr lIns="0" tIns="0" rIns="0" bIns="0" rtlCol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249357" y="4828013"/>
            <a:ext cx="55097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3200" b="1">
                <a:solidFill>
                  <a:schemeClr val="bg2"/>
                </a:solidFill>
              </a:rPr>
              <a:t>—</a:t>
            </a:r>
            <a:endParaRPr lang="en-US" sz="3200" b="1" dirty="0">
              <a:solidFill>
                <a:schemeClr val="bg2"/>
              </a:solidFill>
            </a:endParaRPr>
          </a:p>
        </p:txBody>
      </p:sp>
      <p:pic>
        <p:nvPicPr>
          <p:cNvPr id="14" name="Picture 1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79643" y="6160150"/>
            <a:ext cx="873621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6987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: 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2" y="0"/>
            <a:ext cx="12192000" cy="4610100"/>
          </a:xfrm>
        </p:spPr>
        <p:txBody>
          <a:bodyPr rtlCol="0"/>
          <a:lstStyle/>
          <a:p>
            <a:pPr rtl="0"/>
            <a:r>
              <a:rPr lang="pt"/>
              <a:t>Click icon to add pictur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6"/>
          </p:nvPr>
        </p:nvSpPr>
        <p:spPr bwMode="gray">
          <a:xfrm>
            <a:off x="334963" y="365752"/>
            <a:ext cx="1528942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40519" y="5000633"/>
            <a:ext cx="10112937" cy="224432"/>
          </a:xfrm>
        </p:spPr>
        <p:txBody>
          <a:bodyPr lIns="0" tIns="0" rIns="0" bIns="0" rtlCol="0" anchor="b"/>
          <a:lstStyle>
            <a:lvl1pPr marL="1588" indent="0">
              <a:buFont typeface="Arial" panose="020B0604020202020204" pitchFamily="34" charset="0"/>
              <a:buNone/>
              <a:defRPr sz="1000" cap="all" baseline="0"/>
            </a:lvl1pPr>
            <a:lvl2pPr marL="1588" indent="0">
              <a:buNone/>
              <a:defRPr sz="1000" cap="all" baseline="0"/>
            </a:lvl2pPr>
            <a:lvl3pPr marL="1588" indent="0">
              <a:buNone/>
              <a:defRPr sz="1000" cap="all" baseline="0"/>
            </a:lvl3pPr>
            <a:lvl4pPr marL="1588" indent="0">
              <a:buNone/>
              <a:defRPr sz="1000" cap="all" baseline="0"/>
            </a:lvl4pPr>
            <a:lvl5pPr marL="1588" indent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340519" y="5205566"/>
            <a:ext cx="10112148" cy="504001"/>
          </a:xfrm>
        </p:spPr>
        <p:txBody>
          <a:bodyPr lIns="0" tIns="0" rIns="0" bIns="0" rtlCol="0" anchor="b"/>
          <a:lstStyle>
            <a:lvl1pPr>
              <a:defRPr sz="3200"/>
            </a:lvl1pPr>
          </a:lstStyle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 bwMode="gray">
          <a:xfrm>
            <a:off x="340519" y="5751514"/>
            <a:ext cx="10112147" cy="360865"/>
          </a:xfrm>
        </p:spPr>
        <p:txBody>
          <a:bodyPr lIns="0" tIns="0" rIns="0" bIns="0" rtlCol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40519" y="6109996"/>
            <a:ext cx="10112937" cy="280092"/>
          </a:xfrm>
        </p:spPr>
        <p:txBody>
          <a:bodyPr lIns="0" tIns="0" rIns="0" bIns="0" rtlCol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249357" y="4828013"/>
            <a:ext cx="55097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3200" b="1">
                <a:solidFill>
                  <a:schemeClr val="bg2"/>
                </a:solidFill>
              </a:rPr>
              <a:t>—</a:t>
            </a:r>
            <a:endParaRPr lang="en-US" sz="3200" b="1" dirty="0">
              <a:solidFill>
                <a:schemeClr val="bg2"/>
              </a:solidFill>
            </a:endParaRPr>
          </a:p>
        </p:txBody>
      </p:sp>
      <p:pic>
        <p:nvPicPr>
          <p:cNvPr id="14" name="Picture 19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79643" y="6160150"/>
            <a:ext cx="873621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35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: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8845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F54DE7E8-58C9-4B5A-B686-53E1B76B68C9}"/>
              </a:ext>
            </a:extLst>
          </p:cNvPr>
          <p:cNvSpPr/>
          <p:nvPr userDrawn="1"/>
        </p:nvSpPr>
        <p:spPr bwMode="gray">
          <a:xfrm>
            <a:off x="244800" y="414450"/>
            <a:ext cx="413300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3200" b="1">
                <a:solidFill>
                  <a:schemeClr val="bg1"/>
                </a:solidFill>
              </a:rPr>
              <a:t>—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26BA06A1-F808-4CBA-9D28-8D357F795D4C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5756" y="718060"/>
            <a:ext cx="11521282" cy="504000"/>
          </a:xfrm>
        </p:spPr>
        <p:txBody>
          <a:bodyPr lIns="0" tIns="0" rIns="0" bIns="0" rtlCol="0"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xmlns="" id="{F7CD425E-9028-4049-A9A0-DC6F9DF08061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5757" y="1264007"/>
            <a:ext cx="11521281" cy="360865"/>
          </a:xfrm>
        </p:spPr>
        <p:txBody>
          <a:bodyPr lIns="0" tIns="0" rIns="0" bIns="0" rtlCol="0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71636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: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gray">
          <a:xfrm>
            <a:off x="2" y="0"/>
            <a:ext cx="12192000" cy="6858000"/>
          </a:xfrm>
          <a:prstGeom prst="rect">
            <a:avLst/>
          </a:prstGeom>
          <a:solidFill>
            <a:srgbClr val="FF000F"/>
          </a:solidFill>
          <a:ln w="25400" cap="flat" cmpd="sng" algn="ctr">
            <a:noFill/>
            <a:prstDash val="solid"/>
          </a:ln>
          <a:effectLst/>
        </p:spPr>
        <p:txBody>
          <a:bodyPr lIns="72009" tIns="72009" rIns="72009" bIns="72009" rtlCol="0" anchor="ctr"/>
          <a:lstStyle/>
          <a:p>
            <a:pPr marL="0" marR="0" lvl="0" indent="0" algn="ctr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94A90620-6E53-42BB-807B-70CAD0710CDD}"/>
              </a:ext>
            </a:extLst>
          </p:cNvPr>
          <p:cNvSpPr/>
          <p:nvPr userDrawn="1"/>
        </p:nvSpPr>
        <p:spPr bwMode="gray">
          <a:xfrm>
            <a:off x="244800" y="414450"/>
            <a:ext cx="413300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3200" b="1">
                <a:solidFill>
                  <a:schemeClr val="bg1"/>
                </a:solidFill>
              </a:rPr>
              <a:t>—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6B34BC21-AFED-46B1-8268-92A7B5BBDEE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5756" y="718060"/>
            <a:ext cx="11521282" cy="504000"/>
          </a:xfrm>
        </p:spPr>
        <p:txBody>
          <a:bodyPr lIns="0" tIns="0" rIns="0" bIns="0" rtlCol="0"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0C1FE702-2A26-4886-8C77-E6510DB1849C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5757" y="1264007"/>
            <a:ext cx="11521281" cy="360865"/>
          </a:xfrm>
        </p:spPr>
        <p:txBody>
          <a:bodyPr lIns="0" tIns="0" rIns="0" bIns="0" rtlCol="0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24931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: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06884551-BCA1-4427-92BF-DB5CAA0DDF08}"/>
              </a:ext>
            </a:extLst>
          </p:cNvPr>
          <p:cNvSpPr/>
          <p:nvPr userDrawn="1"/>
        </p:nvSpPr>
        <p:spPr bwMode="gray">
          <a:xfrm>
            <a:off x="244800" y="414450"/>
            <a:ext cx="413300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3200" b="1">
                <a:solidFill>
                  <a:schemeClr val="bg2"/>
                </a:solidFill>
              </a:rPr>
              <a:t>—</a:t>
            </a:r>
            <a:endParaRPr lang="en-US" sz="3200" b="1" dirty="0">
              <a:solidFill>
                <a:schemeClr val="bg2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xmlns="" id="{FAC380CA-95DB-45F2-99D5-3A1E2DF54CD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5756" y="718060"/>
            <a:ext cx="11521282" cy="504000"/>
          </a:xfrm>
        </p:spPr>
        <p:txBody>
          <a:bodyPr lIns="0" tIns="0" rIns="0" bIns="0" rtlCol="0"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EE182003-2699-4135-A685-461A4D33947D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5757" y="1264007"/>
            <a:ext cx="11521281" cy="360865"/>
          </a:xfrm>
        </p:spPr>
        <p:txBody>
          <a:bodyPr lIns="0" tIns="0" rIns="0" bIns="0" rtlCol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462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: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06884551-BCA1-4427-92BF-DB5CAA0DDF08}"/>
              </a:ext>
            </a:extLst>
          </p:cNvPr>
          <p:cNvSpPr/>
          <p:nvPr userDrawn="1"/>
        </p:nvSpPr>
        <p:spPr bwMode="gray">
          <a:xfrm>
            <a:off x="244800" y="414450"/>
            <a:ext cx="413300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3200" b="1">
                <a:solidFill>
                  <a:schemeClr val="bg2"/>
                </a:solidFill>
              </a:rPr>
              <a:t>—</a:t>
            </a:r>
            <a:endParaRPr lang="en-US" sz="3200" b="1" dirty="0">
              <a:solidFill>
                <a:schemeClr val="bg2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xmlns="" id="{FAC380CA-95DB-45F2-99D5-3A1E2DF54CD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5756" y="718060"/>
            <a:ext cx="11521282" cy="504000"/>
          </a:xfrm>
        </p:spPr>
        <p:txBody>
          <a:bodyPr lIns="0" tIns="0" rIns="0" bIns="0" rtlCol="0"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EE182003-2699-4135-A685-461A4D33947D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5757" y="1264007"/>
            <a:ext cx="11521281" cy="360865"/>
          </a:xfrm>
        </p:spPr>
        <p:txBody>
          <a:bodyPr lIns="0" tIns="0" rIns="0" bIns="0" rtlCol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7217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: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 bwMode="gray">
          <a:xfrm>
            <a:off x="332367" y="1931197"/>
            <a:ext cx="11520897" cy="3980439"/>
          </a:xfrm>
        </p:spPr>
        <p:txBody>
          <a:bodyPr rtlCol="0"/>
          <a:lstStyle>
            <a:lvl1pPr>
              <a:spcBef>
                <a:spcPts val="900"/>
              </a:spcBef>
              <a:defRPr sz="2000"/>
            </a:lvl1pPr>
            <a:lvl2pPr marL="0" indent="0">
              <a:spcBef>
                <a:spcPts val="90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3pPr>
            <a:lvl4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4pPr>
            <a:lvl5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5pPr>
            <a:lvl6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6pPr>
            <a:lvl7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7pPr>
            <a:lvl8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8pPr>
            <a:lvl9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3388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: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21"/>
          </p:nvPr>
        </p:nvSpPr>
        <p:spPr bwMode="gray">
          <a:xfrm>
            <a:off x="332367" y="1931197"/>
            <a:ext cx="11520000" cy="3982245"/>
          </a:xfrm>
        </p:spPr>
        <p:txBody>
          <a:bodyPr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</p:spPr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5594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: Content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21"/>
          </p:nvPr>
        </p:nvSpPr>
        <p:spPr bwMode="gray">
          <a:xfrm>
            <a:off x="332367" y="1931195"/>
            <a:ext cx="11520000" cy="3430994"/>
          </a:xfrm>
        </p:spPr>
        <p:txBody>
          <a:bodyPr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</p:spPr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2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362" y="5453066"/>
            <a:ext cx="11520000" cy="460375"/>
          </a:xfrm>
          <a:solidFill>
            <a:schemeClr val="accent3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6334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: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4139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368" y="1931192"/>
            <a:ext cx="115200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8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2367" y="2317637"/>
            <a:ext cx="11520000" cy="3594212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332368" y="2238495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2115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: Title (5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2716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2100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2716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82100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9"/>
          </p:nvPr>
        </p:nvSpPr>
        <p:spPr bwMode="gray">
          <a:xfrm>
            <a:off x="333264" y="4103378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333264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4271664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>
            <a:off x="8210064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Text Placeholder 11"/>
          <p:cNvSpPr>
            <a:spLocks noGrp="1"/>
          </p:cNvSpPr>
          <p:nvPr>
            <p:ph type="body" sz="quarter" idx="20"/>
          </p:nvPr>
        </p:nvSpPr>
        <p:spPr bwMode="gray">
          <a:xfrm>
            <a:off x="4271664" y="4103378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1"/>
          </p:nvPr>
        </p:nvSpPr>
        <p:spPr bwMode="gray">
          <a:xfrm>
            <a:off x="8210064" y="4103378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3" y="1931195"/>
            <a:ext cx="3643200" cy="180926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4271664" y="2317641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8210064" y="2317641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8" name="Content Placeholder 3"/>
          <p:cNvSpPr>
            <a:spLocks noGrp="1"/>
          </p:cNvSpPr>
          <p:nvPr>
            <p:ph sz="quarter" idx="26"/>
          </p:nvPr>
        </p:nvSpPr>
        <p:spPr bwMode="gray">
          <a:xfrm>
            <a:off x="333263" y="4489826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4271664" y="4489826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8210064" y="4489826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2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84956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: Title (6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4271796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210327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271796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9"/>
          </p:nvPr>
        </p:nvSpPr>
        <p:spPr bwMode="gray">
          <a:xfrm>
            <a:off x="333264" y="4103378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333264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4271795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>
            <a:off x="8210327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Text Placeholder 11"/>
          <p:cNvSpPr>
            <a:spLocks noGrp="1"/>
          </p:cNvSpPr>
          <p:nvPr>
            <p:ph type="body" sz="quarter" idx="20"/>
          </p:nvPr>
        </p:nvSpPr>
        <p:spPr bwMode="gray">
          <a:xfrm>
            <a:off x="4271796" y="4103378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1"/>
          </p:nvPr>
        </p:nvSpPr>
        <p:spPr bwMode="gray">
          <a:xfrm>
            <a:off x="8210327" y="4103378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41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4271795" y="2317641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8210327" y="2317641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8" name="Content Placeholder 3"/>
          <p:cNvSpPr>
            <a:spLocks noGrp="1"/>
          </p:cNvSpPr>
          <p:nvPr>
            <p:ph sz="quarter" idx="26"/>
          </p:nvPr>
        </p:nvSpPr>
        <p:spPr bwMode="gray">
          <a:xfrm>
            <a:off x="333264" y="4489826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4271796" y="4489826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8210327" y="4489826"/>
            <a:ext cx="3643200" cy="14228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2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31069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: Title &amp; Content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1492" y="1931193"/>
            <a:ext cx="115200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3" name="Content Placeholder 32"/>
          <p:cNvSpPr>
            <a:spLocks noGrp="1"/>
          </p:cNvSpPr>
          <p:nvPr>
            <p:ph sz="quarter" idx="25"/>
          </p:nvPr>
        </p:nvSpPr>
        <p:spPr bwMode="gray">
          <a:xfrm>
            <a:off x="333264" y="2317637"/>
            <a:ext cx="1739026" cy="1710000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4" name="Content Placeholder 32"/>
          <p:cNvSpPr>
            <a:spLocks noGrp="1"/>
          </p:cNvSpPr>
          <p:nvPr>
            <p:ph sz="quarter" idx="26"/>
          </p:nvPr>
        </p:nvSpPr>
        <p:spPr bwMode="gray">
          <a:xfrm>
            <a:off x="333264" y="4202644"/>
            <a:ext cx="1739026" cy="1710000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5" name="Content Placeholder 32"/>
          <p:cNvSpPr>
            <a:spLocks noGrp="1"/>
          </p:cNvSpPr>
          <p:nvPr>
            <p:ph sz="quarter" idx="27"/>
          </p:nvPr>
        </p:nvSpPr>
        <p:spPr bwMode="gray">
          <a:xfrm>
            <a:off x="6163300" y="2317637"/>
            <a:ext cx="1739026" cy="1710000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6" name="Content Placeholder 32"/>
          <p:cNvSpPr>
            <a:spLocks noGrp="1"/>
          </p:cNvSpPr>
          <p:nvPr>
            <p:ph sz="quarter" idx="28"/>
          </p:nvPr>
        </p:nvSpPr>
        <p:spPr bwMode="gray">
          <a:xfrm>
            <a:off x="6163300" y="4202644"/>
            <a:ext cx="1739026" cy="1710000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18"/>
          </p:nvPr>
        </p:nvSpPr>
        <p:spPr bwMode="gray">
          <a:xfrm>
            <a:off x="2259472" y="2317637"/>
            <a:ext cx="3757689" cy="17100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259472" y="4202644"/>
            <a:ext cx="3757689" cy="1710000"/>
          </a:xfrm>
        </p:spPr>
        <p:txBody>
          <a:bodyPr lIns="0" tIns="0" rIns="0" bIns="0"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8093952" y="2317637"/>
            <a:ext cx="3759312" cy="17100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8093952" y="4202644"/>
            <a:ext cx="3759312" cy="1710000"/>
          </a:xfrm>
        </p:spPr>
        <p:txBody>
          <a:bodyPr lIns="0" tIns="0" rIns="0" bIns="0"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cxnSp>
        <p:nvCxnSpPr>
          <p:cNvPr id="24" name="Straight Connector 23"/>
          <p:cNvCxnSpPr/>
          <p:nvPr userDrawn="1"/>
        </p:nvCxnSpPr>
        <p:spPr bwMode="gray">
          <a:xfrm>
            <a:off x="332368" y="2238495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 bwMode="gray">
          <a:xfrm>
            <a:off x="332368" y="4115141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6925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: Title &amp; Content (8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</p:spPr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115200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3" name="Content Placeholder 32"/>
          <p:cNvSpPr>
            <a:spLocks noGrp="1"/>
          </p:cNvSpPr>
          <p:nvPr>
            <p:ph sz="quarter" idx="25"/>
          </p:nvPr>
        </p:nvSpPr>
        <p:spPr bwMode="gray">
          <a:xfrm>
            <a:off x="332367" y="2317637"/>
            <a:ext cx="1739026" cy="1436400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4" name="Content Placeholder 32"/>
          <p:cNvSpPr>
            <a:spLocks noGrp="1"/>
          </p:cNvSpPr>
          <p:nvPr>
            <p:ph sz="quarter" idx="26"/>
          </p:nvPr>
        </p:nvSpPr>
        <p:spPr bwMode="gray">
          <a:xfrm>
            <a:off x="332367" y="3925788"/>
            <a:ext cx="1739026" cy="1436400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5" name="Content Placeholder 32"/>
          <p:cNvSpPr>
            <a:spLocks noGrp="1"/>
          </p:cNvSpPr>
          <p:nvPr>
            <p:ph sz="quarter" idx="27"/>
          </p:nvPr>
        </p:nvSpPr>
        <p:spPr bwMode="gray">
          <a:xfrm>
            <a:off x="6163300" y="2317636"/>
            <a:ext cx="1739026" cy="1436400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6" name="Content Placeholder 32"/>
          <p:cNvSpPr>
            <a:spLocks noGrp="1"/>
          </p:cNvSpPr>
          <p:nvPr>
            <p:ph sz="quarter" idx="28"/>
          </p:nvPr>
        </p:nvSpPr>
        <p:spPr bwMode="gray">
          <a:xfrm>
            <a:off x="6163300" y="3925788"/>
            <a:ext cx="1739026" cy="1436400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18"/>
          </p:nvPr>
        </p:nvSpPr>
        <p:spPr bwMode="gray">
          <a:xfrm>
            <a:off x="2260482" y="2317636"/>
            <a:ext cx="3757436" cy="14364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260482" y="3925788"/>
            <a:ext cx="3757436" cy="1436400"/>
          </a:xfrm>
        </p:spPr>
        <p:txBody>
          <a:bodyPr lIns="0" tIns="0" rIns="0" bIns="0"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8093953" y="2317636"/>
            <a:ext cx="3759312" cy="143640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8093953" y="3925788"/>
            <a:ext cx="3759312" cy="1436400"/>
          </a:xfrm>
        </p:spPr>
        <p:txBody>
          <a:bodyPr lIns="0" tIns="0" rIns="0" bIns="0"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3264" y="5453066"/>
            <a:ext cx="11520000" cy="460375"/>
          </a:xfrm>
          <a:solidFill>
            <a:schemeClr val="accent3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332368" y="2238495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 bwMode="gray">
          <a:xfrm>
            <a:off x="332368" y="3839912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1374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9107" y="1931194"/>
            <a:ext cx="5604420" cy="398091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7" y="1931194"/>
            <a:ext cx="5603434" cy="398091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6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34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: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 bwMode="gray">
          <a:xfrm>
            <a:off x="332367" y="1931197"/>
            <a:ext cx="11520897" cy="3980439"/>
          </a:xfrm>
        </p:spPr>
        <p:txBody>
          <a:bodyPr rtlCol="0"/>
          <a:lstStyle>
            <a:lvl1pPr>
              <a:spcBef>
                <a:spcPts val="900"/>
              </a:spcBef>
              <a:defRPr sz="2000"/>
            </a:lvl1pPr>
            <a:lvl2pPr marL="0" indent="0">
              <a:spcBef>
                <a:spcPts val="90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3pPr>
            <a:lvl4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4pPr>
            <a:lvl5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5pPr>
            <a:lvl6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6pPr>
            <a:lvl7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7pPr>
            <a:lvl8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8pPr>
            <a:lvl9pPr marL="252025" indent="-252025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770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: Content (2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9107" y="1931194"/>
            <a:ext cx="5604420" cy="3430994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7" y="1931194"/>
            <a:ext cx="5603434" cy="343099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1931194"/>
            <a:ext cx="0" cy="343099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368" y="5453066"/>
            <a:ext cx="11520896" cy="460375"/>
          </a:xfrm>
          <a:solidFill>
            <a:schemeClr val="accent3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4157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: Title (2) &amp;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435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327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9107" y="2317638"/>
            <a:ext cx="5604420" cy="3594474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7" y="2317638"/>
            <a:ext cx="5603434" cy="359447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94246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: Title (2) &amp; Content (2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365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2365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8327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327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327" y="2317638"/>
            <a:ext cx="5605200" cy="295097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5" y="2317638"/>
            <a:ext cx="5605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95999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583" y="5453066"/>
            <a:ext cx="11520682" cy="460375"/>
          </a:xfrm>
          <a:solidFill>
            <a:schemeClr val="accent3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52391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: Title (2) &amp; Content (2)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64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3754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044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044" y="2317638"/>
            <a:ext cx="5605200" cy="3594474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4" y="2317638"/>
            <a:ext cx="5605200" cy="359447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4" name="Gleichschenkliges Dreieck 46"/>
          <p:cNvSpPr/>
          <p:nvPr userDrawn="1"/>
        </p:nvSpPr>
        <p:spPr bwMode="gray">
          <a:xfrm rot="5400000">
            <a:off x="4334900" y="4088006"/>
            <a:ext cx="3523271" cy="124946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16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7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36856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: Title (2) &amp; Content (2) &amp; Box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leichschenkliges Dreieck 46"/>
          <p:cNvSpPr/>
          <p:nvPr userDrawn="1"/>
        </p:nvSpPr>
        <p:spPr bwMode="gray">
          <a:xfrm rot="5400000">
            <a:off x="4656514" y="3766499"/>
            <a:ext cx="2879662" cy="124579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64" y="2238606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3754" y="2238606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045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045" y="2317751"/>
            <a:ext cx="5605200" cy="2950867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4" y="2317751"/>
            <a:ext cx="5605200" cy="2950867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367" y="5453066"/>
            <a:ext cx="11521160" cy="460375"/>
          </a:xfrm>
          <a:solidFill>
            <a:schemeClr val="accent3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116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08386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: Title &amp;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2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64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045" y="1931195"/>
            <a:ext cx="5605200" cy="398091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4" y="2317640"/>
            <a:ext cx="5605200" cy="3594475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cxnSp>
        <p:nvCxnSpPr>
          <p:cNvPr id="24" name="Straight Connector 23"/>
          <p:cNvCxnSpPr/>
          <p:nvPr userDrawn="1"/>
        </p:nvCxnSpPr>
        <p:spPr bwMode="gray">
          <a:xfrm>
            <a:off x="6095999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9652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: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9107" y="1931194"/>
            <a:ext cx="5604420" cy="1922496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7" y="1931194"/>
            <a:ext cx="5603434" cy="398091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49107" y="3989616"/>
            <a:ext cx="5604420" cy="1922496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4838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: Title (3) &amp;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045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248045" y="4045107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6248045" y="2318321"/>
            <a:ext cx="5605200" cy="1484195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40"/>
            <a:ext cx="5605200" cy="359512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333264" y="223917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6248045" y="223917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6248045" y="4348008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6248045" y="4432235"/>
            <a:ext cx="5605200" cy="1481057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1159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cxnSp>
        <p:nvCxnSpPr>
          <p:cNvPr id="32" name="Straight Connector 31"/>
          <p:cNvCxnSpPr/>
          <p:nvPr userDrawn="1"/>
        </p:nvCxnSpPr>
        <p:spPr bwMode="gray">
          <a:xfrm>
            <a:off x="6095999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3228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: Title (3) &amp; Content (3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332366" y="5452639"/>
            <a:ext cx="11520877" cy="460800"/>
          </a:xfrm>
          <a:solidFill>
            <a:schemeClr val="accent3"/>
          </a:solidFill>
        </p:spPr>
        <p:txBody>
          <a:bodyPr lIns="0" tIns="0" rIns="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6248043" y="2317641"/>
            <a:ext cx="5605200" cy="105391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37"/>
            <a:ext cx="5605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043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248043" y="3831247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333264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6248043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6248043" y="4135561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6248043" y="4214707"/>
            <a:ext cx="5605200" cy="105391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cxnSp>
        <p:nvCxnSpPr>
          <p:cNvPr id="37" name="Straight Connector 36"/>
          <p:cNvCxnSpPr/>
          <p:nvPr userDrawn="1"/>
        </p:nvCxnSpPr>
        <p:spPr bwMode="gray">
          <a:xfrm>
            <a:off x="6095999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3464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: Title &amp; Content (2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582" y="1931195"/>
            <a:ext cx="2064201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700027" y="1931195"/>
            <a:ext cx="9153500" cy="398091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582" y="2317640"/>
            <a:ext cx="2064201" cy="3594475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333983" y="2238495"/>
            <a:ext cx="2062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2548405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389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: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21"/>
          </p:nvPr>
        </p:nvSpPr>
        <p:spPr bwMode="gray">
          <a:xfrm>
            <a:off x="332367" y="1931197"/>
            <a:ext cx="11520000" cy="3982245"/>
          </a:xfrm>
        </p:spPr>
        <p:txBody>
          <a:bodyPr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</p:spPr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424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: Title &amp; Content (2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5"/>
            <a:ext cx="4093766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724929" y="1931195"/>
            <a:ext cx="7128598" cy="398091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3" y="2317640"/>
            <a:ext cx="4093767" cy="3594475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333264" y="2238495"/>
            <a:ext cx="409376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4575980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7928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: Title (3) &amp; Content (3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4093767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724453" y="1931194"/>
            <a:ext cx="7128811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4724453" y="4042705"/>
            <a:ext cx="7128811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4724453" y="2317638"/>
            <a:ext cx="7128811" cy="148354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38"/>
            <a:ext cx="4094665" cy="359447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cxnSp>
        <p:nvCxnSpPr>
          <p:cNvPr id="11" name="Straight Connector 9"/>
          <p:cNvCxnSpPr/>
          <p:nvPr userDrawn="1"/>
        </p:nvCxnSpPr>
        <p:spPr bwMode="gray">
          <a:xfrm>
            <a:off x="4725264" y="2238495"/>
            <a:ext cx="71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4725264" y="4349421"/>
            <a:ext cx="71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4724453" y="4428564"/>
            <a:ext cx="7128811" cy="148354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6" y="1085213"/>
            <a:ext cx="11521161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cxnSp>
        <p:nvCxnSpPr>
          <p:cNvPr id="37" name="Straight Connector 36"/>
          <p:cNvCxnSpPr/>
          <p:nvPr userDrawn="1"/>
        </p:nvCxnSpPr>
        <p:spPr bwMode="gray">
          <a:xfrm>
            <a:off x="4575980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 bwMode="gray">
          <a:xfrm>
            <a:off x="333264" y="2238495"/>
            <a:ext cx="409376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6436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: Title (3) &amp; Content (3) &amp; Bo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Straight Connector 41"/>
          <p:cNvCxnSpPr/>
          <p:nvPr userDrawn="1"/>
        </p:nvCxnSpPr>
        <p:spPr bwMode="gray">
          <a:xfrm>
            <a:off x="4575980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332366" y="5452639"/>
            <a:ext cx="11521161" cy="460800"/>
          </a:xfrm>
          <a:solidFill>
            <a:schemeClr val="accent3"/>
          </a:solidFill>
        </p:spPr>
        <p:txBody>
          <a:bodyPr lIns="0" tIns="0" rIns="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4724930" y="2317641"/>
            <a:ext cx="7128597" cy="105391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38"/>
            <a:ext cx="4094664" cy="2950979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367" y="1931193"/>
            <a:ext cx="4094664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724930" y="1931193"/>
            <a:ext cx="7129297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4724930" y="3831247"/>
            <a:ext cx="7129297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4724930" y="4214707"/>
            <a:ext cx="7128597" cy="105391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9" name="Straight Connector 9"/>
          <p:cNvCxnSpPr/>
          <p:nvPr userDrawn="1"/>
        </p:nvCxnSpPr>
        <p:spPr bwMode="gray">
          <a:xfrm>
            <a:off x="4724930" y="2238495"/>
            <a:ext cx="71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 bwMode="gray">
          <a:xfrm>
            <a:off x="4727528" y="4136597"/>
            <a:ext cx="71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cxnSp>
        <p:nvCxnSpPr>
          <p:cNvPr id="45" name="Straight Connector 44"/>
          <p:cNvCxnSpPr/>
          <p:nvPr userDrawn="1"/>
        </p:nvCxnSpPr>
        <p:spPr bwMode="gray">
          <a:xfrm>
            <a:off x="333264" y="2238495"/>
            <a:ext cx="409376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3767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: Title (3) &amp; Content (3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184"/>
            <a:ext cx="3643200" cy="359493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5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5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2317184"/>
            <a:ext cx="3643200" cy="359493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317184"/>
            <a:ext cx="3643200" cy="3594931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cxnSp>
        <p:nvCxnSpPr>
          <p:cNvPr id="35" name="Straight Connector 34"/>
          <p:cNvCxnSpPr/>
          <p:nvPr userDrawn="1"/>
        </p:nvCxnSpPr>
        <p:spPr bwMode="gray">
          <a:xfrm>
            <a:off x="4124130" y="2388386"/>
            <a:ext cx="0" cy="35266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 bwMode="gray">
          <a:xfrm>
            <a:off x="8062662" y="2388386"/>
            <a:ext cx="0" cy="35266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8907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: Title (3) &amp; Content (3) &amp; Bo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28"/>
          </p:nvPr>
        </p:nvSpPr>
        <p:spPr bwMode="gray">
          <a:xfrm>
            <a:off x="333264" y="5452639"/>
            <a:ext cx="11520263" cy="460800"/>
          </a:xfrm>
          <a:solidFill>
            <a:schemeClr val="accent3"/>
          </a:solidFill>
        </p:spPr>
        <p:txBody>
          <a:bodyPr rtlCol="0" anchor="ctr"/>
          <a:lstStyle>
            <a:lvl1pPr marL="7939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38"/>
            <a:ext cx="3643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5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5" y="2317638"/>
            <a:ext cx="3643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317638"/>
            <a:ext cx="3643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cxnSp>
        <p:nvCxnSpPr>
          <p:cNvPr id="34" name="Straight Connector 33"/>
          <p:cNvCxnSpPr/>
          <p:nvPr userDrawn="1"/>
        </p:nvCxnSpPr>
        <p:spPr bwMode="gray">
          <a:xfrm>
            <a:off x="4124130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 bwMode="gray">
          <a:xfrm>
            <a:off x="8062661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0122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: Title (3) &amp; Content (3)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917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38"/>
            <a:ext cx="3643200" cy="359379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917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2318318"/>
            <a:ext cx="3643200" cy="359379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917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318318"/>
            <a:ext cx="3643200" cy="359379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8" name="Gleichschenkliges Dreieck 46"/>
          <p:cNvSpPr/>
          <p:nvPr userDrawn="1"/>
        </p:nvSpPr>
        <p:spPr bwMode="gray">
          <a:xfrm rot="5400000">
            <a:off x="6301200" y="4088360"/>
            <a:ext cx="3522591" cy="124922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19" name="Gleichschenkliges Dreieck 46"/>
          <p:cNvSpPr/>
          <p:nvPr userDrawn="1"/>
        </p:nvSpPr>
        <p:spPr bwMode="gray">
          <a:xfrm rot="5400000">
            <a:off x="2362815" y="4091269"/>
            <a:ext cx="3522591" cy="124922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2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76998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: Title (3) &amp; Content (3) &amp; Box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38"/>
            <a:ext cx="3643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5" y="2317638"/>
            <a:ext cx="3643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317638"/>
            <a:ext cx="3643200" cy="2950978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0" name="Text Placeholder 17"/>
          <p:cNvSpPr>
            <a:spLocks noGrp="1"/>
          </p:cNvSpPr>
          <p:nvPr>
            <p:ph type="body" sz="quarter" idx="28"/>
          </p:nvPr>
        </p:nvSpPr>
        <p:spPr bwMode="gray">
          <a:xfrm>
            <a:off x="332581" y="5452639"/>
            <a:ext cx="11520683" cy="460800"/>
          </a:xfrm>
          <a:solidFill>
            <a:schemeClr val="accent3"/>
          </a:solidFill>
        </p:spPr>
        <p:txBody>
          <a:bodyPr rtlCol="0" anchor="ctr"/>
          <a:lstStyle>
            <a:lvl1pPr marL="7939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sp>
        <p:nvSpPr>
          <p:cNvPr id="19" name="Gleichschenkliges Dreieck 46"/>
          <p:cNvSpPr/>
          <p:nvPr userDrawn="1"/>
        </p:nvSpPr>
        <p:spPr bwMode="gray">
          <a:xfrm rot="5400000">
            <a:off x="6622950" y="3766612"/>
            <a:ext cx="2879092" cy="124922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24" name="Gleichschenkliges Dreieck 46"/>
          <p:cNvSpPr/>
          <p:nvPr userDrawn="1"/>
        </p:nvSpPr>
        <p:spPr bwMode="gray">
          <a:xfrm rot="5400000">
            <a:off x="2684564" y="3769521"/>
            <a:ext cx="2879093" cy="124922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4322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: Title (3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333264" y="2317752"/>
            <a:ext cx="3643200" cy="1692493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4271796" y="2317751"/>
            <a:ext cx="3643200" cy="1692493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8210327" y="2317751"/>
            <a:ext cx="3643200" cy="1692493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4239659"/>
            <a:ext cx="3643200" cy="1673783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4239659"/>
            <a:ext cx="3643200" cy="1673783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4239659"/>
            <a:ext cx="3643200" cy="1673783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35040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: Title (3) &amp; Content (6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333264" y="2317751"/>
            <a:ext cx="3643200" cy="1692493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4271796" y="2317751"/>
            <a:ext cx="3643200" cy="1692493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8210327" y="2317751"/>
            <a:ext cx="3643200" cy="1692493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4239659"/>
            <a:ext cx="3643200" cy="1028959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4239659"/>
            <a:ext cx="3643200" cy="1028959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4239659"/>
            <a:ext cx="3643200" cy="1028959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1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191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1"/>
            <a:ext cx="3643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5" name="Text Placeholder 17"/>
          <p:cNvSpPr>
            <a:spLocks noGrp="1"/>
          </p:cNvSpPr>
          <p:nvPr>
            <p:ph type="body" sz="quarter" idx="31"/>
          </p:nvPr>
        </p:nvSpPr>
        <p:spPr bwMode="gray">
          <a:xfrm>
            <a:off x="333264" y="5452639"/>
            <a:ext cx="11520000" cy="460800"/>
          </a:xfrm>
          <a:solidFill>
            <a:schemeClr val="accent3"/>
          </a:solidFill>
        </p:spPr>
        <p:txBody>
          <a:bodyPr rtlCol="0" anchor="ctr"/>
          <a:lstStyle>
            <a:lvl1pPr marL="7939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89947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: Content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2367" y="3989616"/>
            <a:ext cx="2655682" cy="1922496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55" y="1931194"/>
            <a:ext cx="2655214" cy="1922496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3139431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291292" y="1931194"/>
            <a:ext cx="5609417" cy="398091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9049511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9197845" y="3989616"/>
            <a:ext cx="2655682" cy="1922496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9198313" y="1931194"/>
            <a:ext cx="2655214" cy="1922496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2478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: Content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21"/>
          </p:nvPr>
        </p:nvSpPr>
        <p:spPr bwMode="gray">
          <a:xfrm>
            <a:off x="332367" y="1931195"/>
            <a:ext cx="11520000" cy="3430994"/>
          </a:xfrm>
        </p:spPr>
        <p:txBody>
          <a:bodyPr rtlCol="0"/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</p:spPr>
        <p:txBody>
          <a:bodyPr rtlCol="0"/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2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  <a:endParaRPr lang="en-US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362" y="5453066"/>
            <a:ext cx="11520000" cy="460375"/>
          </a:xfrm>
          <a:solidFill>
            <a:schemeClr val="accent3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06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: Title (4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38"/>
            <a:ext cx="2656800" cy="359447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287752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287752" y="2317638"/>
            <a:ext cx="2656800" cy="359447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6242240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242240" y="2317638"/>
            <a:ext cx="2656800" cy="359447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333264" y="2238495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gray">
          <a:xfrm>
            <a:off x="3287752" y="2238495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6242240" y="2238495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 bwMode="gray">
          <a:xfrm>
            <a:off x="9196727" y="2238495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6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9196727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9196727" y="2317638"/>
            <a:ext cx="2656800" cy="3594474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cxnSp>
        <p:nvCxnSpPr>
          <p:cNvPr id="41" name="Straight Connector 40"/>
          <p:cNvCxnSpPr/>
          <p:nvPr userDrawn="1"/>
        </p:nvCxnSpPr>
        <p:spPr bwMode="gray">
          <a:xfrm>
            <a:off x="3138908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 bwMode="gray">
          <a:xfrm>
            <a:off x="9047884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 bwMode="gray">
          <a:xfrm>
            <a:off x="6093396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9345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: Title (4) &amp; Content (4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752"/>
            <a:ext cx="2656800" cy="2950867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287752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287752" y="2317752"/>
            <a:ext cx="2656800" cy="2950867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6242240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242240" y="2317752"/>
            <a:ext cx="2656800" cy="2950867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333264" y="2238606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gray">
          <a:xfrm>
            <a:off x="3287752" y="2238606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6242240" y="2238606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 bwMode="gray">
          <a:xfrm>
            <a:off x="9196727" y="2238606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6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9196727" y="1931193"/>
            <a:ext cx="26568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9196727" y="2317752"/>
            <a:ext cx="2656800" cy="2950867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4" name="Text Placeholder 17"/>
          <p:cNvSpPr>
            <a:spLocks noGrp="1"/>
          </p:cNvSpPr>
          <p:nvPr>
            <p:ph type="body" sz="quarter" idx="30"/>
          </p:nvPr>
        </p:nvSpPr>
        <p:spPr bwMode="gray">
          <a:xfrm>
            <a:off x="332366" y="5452639"/>
            <a:ext cx="11520897" cy="460800"/>
          </a:xfrm>
          <a:solidFill>
            <a:schemeClr val="accent3"/>
          </a:solidFill>
        </p:spPr>
        <p:txBody>
          <a:bodyPr rtlCol="0" anchor="ctr"/>
          <a:lstStyle>
            <a:lvl1pPr marL="7939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9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3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2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3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3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cxnSp>
        <p:nvCxnSpPr>
          <p:cNvPr id="42" name="Straight Connector 41"/>
          <p:cNvCxnSpPr/>
          <p:nvPr userDrawn="1"/>
        </p:nvCxnSpPr>
        <p:spPr bwMode="gray">
          <a:xfrm>
            <a:off x="3138908" y="2388954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 bwMode="gray">
          <a:xfrm>
            <a:off x="9047884" y="2388954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 bwMode="gray">
          <a:xfrm>
            <a:off x="6093396" y="2388954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1297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: Content (3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50004" y="1931197"/>
            <a:ext cx="5603523" cy="1853869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4" y="1931197"/>
            <a:ext cx="5602537" cy="1853869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1931197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32367" y="4064036"/>
            <a:ext cx="11520897" cy="1848076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33527" y="3922317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1972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: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259985" y="1931197"/>
            <a:ext cx="3643200" cy="1853869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4" y="1931197"/>
            <a:ext cx="3643200" cy="1853869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4118225" y="1931197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32367" y="4064036"/>
            <a:ext cx="11520897" cy="1848076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33527" y="3922317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8056756" y="1931197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4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8210327" y="1931197"/>
            <a:ext cx="3643200" cy="1853869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60190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: Content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64" y="1932098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333527" y="3925094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287752" y="1932849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64" y="4016596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287752" y="4017347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5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6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242240" y="1932098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9196727" y="1932849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6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6242240" y="4016596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9196727" y="4017347"/>
            <a:ext cx="2656800" cy="1897200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58297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: Title (4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333264" y="4045107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248045" y="1931193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333264" y="4432235"/>
            <a:ext cx="5605200" cy="1484195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38"/>
            <a:ext cx="5605200" cy="1484876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333264" y="223917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333264" y="4348008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6248045" y="223917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6248045" y="2317641"/>
            <a:ext cx="5605200" cy="1481057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1159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cxnSp>
        <p:nvCxnSpPr>
          <p:cNvPr id="32" name="Straight Connector 31"/>
          <p:cNvCxnSpPr/>
          <p:nvPr userDrawn="1"/>
        </p:nvCxnSpPr>
        <p:spPr bwMode="gray">
          <a:xfrm>
            <a:off x="6095999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6248045" y="4043972"/>
            <a:ext cx="5605200" cy="252000"/>
          </a:xfrm>
        </p:spPr>
        <p:txBody>
          <a:bodyPr lIns="0" tIns="0" rIns="0" rtlCol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9" name="Straight Connector 14"/>
          <p:cNvCxnSpPr/>
          <p:nvPr userDrawn="1"/>
        </p:nvCxnSpPr>
        <p:spPr bwMode="gray">
          <a:xfrm>
            <a:off x="6248045" y="4351954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Content Placeholder 15"/>
          <p:cNvSpPr>
            <a:spLocks noGrp="1"/>
          </p:cNvSpPr>
          <p:nvPr>
            <p:ph sz="quarter" idx="23"/>
          </p:nvPr>
        </p:nvSpPr>
        <p:spPr bwMode="gray">
          <a:xfrm>
            <a:off x="6248045" y="4430420"/>
            <a:ext cx="5605200" cy="1481057"/>
          </a:xfrm>
        </p:spPr>
        <p:txBody>
          <a:bodyPr lIns="0" tIns="0" rIns="0" bIns="0" rtlCol="0"/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08234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: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64" y="1931195"/>
            <a:ext cx="5619398" cy="1853868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95999" y="1931195"/>
            <a:ext cx="0" cy="398224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 bwMode="gray">
          <a:xfrm>
            <a:off x="333527" y="3922317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34129" y="1931195"/>
            <a:ext cx="5619398" cy="1853868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64" y="4059571"/>
            <a:ext cx="5619398" cy="1853868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6234129" y="4059571"/>
            <a:ext cx="5619398" cy="1853868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5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6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6406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: Content (4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64" y="1931198"/>
            <a:ext cx="5621183" cy="1530893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32344" y="1931198"/>
            <a:ext cx="5621183" cy="1530893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64" y="3737725"/>
            <a:ext cx="5621183" cy="1530893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6232344" y="3737725"/>
            <a:ext cx="5621183" cy="1530893"/>
          </a:xfrm>
        </p:spPr>
        <p:txBody>
          <a:bodyPr lIns="0" tIns="0" rIns="0" bIns="0" rtlCol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32367" y="5452639"/>
            <a:ext cx="11521160" cy="460800"/>
          </a:xfrm>
          <a:solidFill>
            <a:schemeClr val="accent3"/>
          </a:solidFill>
        </p:spPr>
        <p:txBody>
          <a:bodyPr lIns="0" tIns="0" rIns="0" rtlCol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23" name="Straight Connector 22"/>
          <p:cNvCxnSpPr/>
          <p:nvPr userDrawn="1"/>
        </p:nvCxnSpPr>
        <p:spPr bwMode="gray">
          <a:xfrm>
            <a:off x="333527" y="3599905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25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7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95999" y="1931195"/>
            <a:ext cx="0" cy="333742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6" y="1085213"/>
            <a:ext cx="11521161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25293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: Title (2) &amp;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3" y="1931196"/>
            <a:ext cx="5361993" cy="191932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3" y="3993324"/>
            <a:ext cx="5361993" cy="1919320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1798" y="3921919"/>
            <a:ext cx="53604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 userDrawn="1">
            <p:ph sz="quarter" idx="23"/>
          </p:nvPr>
        </p:nvSpPr>
        <p:spPr bwMode="gray">
          <a:xfrm>
            <a:off x="332582" y="1931196"/>
            <a:ext cx="1918800" cy="1919320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 userDrawn="1">
            <p:ph sz="quarter" idx="24"/>
          </p:nvPr>
        </p:nvSpPr>
        <p:spPr bwMode="gray">
          <a:xfrm>
            <a:off x="332582" y="3993324"/>
            <a:ext cx="1918800" cy="1919320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26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27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28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332366" y="1085213"/>
            <a:ext cx="11521161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8218509" y="1931196"/>
            <a:ext cx="3634755" cy="398144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3498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: Title (3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3" y="1931196"/>
            <a:ext cx="5361993" cy="123194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3" y="3305949"/>
            <a:ext cx="5361993" cy="123194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3273" y="4680702"/>
            <a:ext cx="5361993" cy="1231942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4866" y="3235138"/>
            <a:ext cx="53604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2554866" y="4611082"/>
            <a:ext cx="53604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 userDrawn="1">
            <p:ph sz="quarter" idx="23"/>
          </p:nvPr>
        </p:nvSpPr>
        <p:spPr bwMode="gray">
          <a:xfrm>
            <a:off x="332367" y="1931196"/>
            <a:ext cx="1917663" cy="1231942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 userDrawn="1">
            <p:ph sz="quarter" idx="24"/>
          </p:nvPr>
        </p:nvSpPr>
        <p:spPr bwMode="gray">
          <a:xfrm>
            <a:off x="332367" y="3305949"/>
            <a:ext cx="1917663" cy="1231942"/>
          </a:xfrm>
        </p:spPr>
        <p:txBody>
          <a:bodyPr lIns="0" tIns="0" rIns="0" bIns="0" rtlCol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7" name="Content Placeholder 3"/>
          <p:cNvSpPr>
            <a:spLocks noGrp="1"/>
          </p:cNvSpPr>
          <p:nvPr userDrawn="1">
            <p:ph sz="quarter" idx="25"/>
          </p:nvPr>
        </p:nvSpPr>
        <p:spPr bwMode="gray">
          <a:xfrm>
            <a:off x="332367" y="4680702"/>
            <a:ext cx="1917663" cy="1231942"/>
          </a:xfrm>
        </p:spPr>
        <p:txBody>
          <a:bodyPr lIns="0" tIns="0" rIns="0" bIns="0" rtlCol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26"/>
          </p:nvPr>
        </p:nvSpPr>
        <p:spPr bwMode="gray"/>
        <p:txBody>
          <a:bodyPr rtlCol="0"/>
          <a:lstStyle/>
          <a:p>
            <a:pPr rtl="0"/>
            <a:r>
              <a:rPr lang="pt"/>
              <a:t>March 4, 2021</a:t>
            </a:r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27"/>
          </p:nvPr>
        </p:nvSpPr>
        <p:spPr bwMode="gray"/>
        <p:txBody>
          <a:bodyPr rtlCol="0"/>
          <a:lstStyle/>
          <a:p>
            <a:pPr lvl="8" rtl="0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28"/>
          </p:nvPr>
        </p:nvSpPr>
        <p:spPr bwMode="gray"/>
        <p:txBody>
          <a:bodyPr rtlCol="0"/>
          <a:lstStyle/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332367" y="1085213"/>
            <a:ext cx="11520897" cy="504000"/>
          </a:xfrm>
        </p:spPr>
        <p:txBody>
          <a:bodyPr lIns="0" tIns="0" rIns="0" bIns="0" rtlCol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 rtl="0"/>
            <a:r>
              <a:rPr lang="pt"/>
              <a:t>Click to edit Master subtitle style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8218509" y="1931196"/>
            <a:ext cx="3634755" cy="3981448"/>
          </a:xfrm>
        </p:spPr>
        <p:txBody>
          <a:bodyPr lIns="0" tIns="0" rIns="0" bIns="0" rtlCol="0"/>
          <a:lstStyle>
            <a:lvl1pPr>
              <a:defRPr/>
            </a:lvl1pPr>
          </a:lstStyle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7900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61" Type="http://schemas.openxmlformats.org/officeDocument/2006/relationships/image" Target="../media/image2.png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9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75.xml"/><Relationship Id="rId34" Type="http://schemas.openxmlformats.org/officeDocument/2006/relationships/slideLayout" Target="../slideLayouts/slideLayout88.xml"/><Relationship Id="rId42" Type="http://schemas.openxmlformats.org/officeDocument/2006/relationships/slideLayout" Target="../slideLayouts/slideLayout96.xml"/><Relationship Id="rId47" Type="http://schemas.openxmlformats.org/officeDocument/2006/relationships/slideLayout" Target="../slideLayouts/slideLayout101.xml"/><Relationship Id="rId50" Type="http://schemas.openxmlformats.org/officeDocument/2006/relationships/slideLayout" Target="../slideLayouts/slideLayout104.xml"/><Relationship Id="rId55" Type="http://schemas.openxmlformats.org/officeDocument/2006/relationships/theme" Target="../theme/theme2.xml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slideLayout" Target="../slideLayouts/slideLayout86.xml"/><Relationship Id="rId37" Type="http://schemas.openxmlformats.org/officeDocument/2006/relationships/slideLayout" Target="../slideLayouts/slideLayout91.xml"/><Relationship Id="rId40" Type="http://schemas.openxmlformats.org/officeDocument/2006/relationships/slideLayout" Target="../slideLayouts/slideLayout94.xml"/><Relationship Id="rId45" Type="http://schemas.openxmlformats.org/officeDocument/2006/relationships/slideLayout" Target="../slideLayouts/slideLayout99.xml"/><Relationship Id="rId53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31" Type="http://schemas.openxmlformats.org/officeDocument/2006/relationships/slideLayout" Target="../slideLayouts/slideLayout85.xml"/><Relationship Id="rId44" Type="http://schemas.openxmlformats.org/officeDocument/2006/relationships/slideLayout" Target="../slideLayouts/slideLayout98.xml"/><Relationship Id="rId52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slideLayout" Target="../slideLayouts/slideLayout84.xml"/><Relationship Id="rId35" Type="http://schemas.openxmlformats.org/officeDocument/2006/relationships/slideLayout" Target="../slideLayouts/slideLayout89.xml"/><Relationship Id="rId43" Type="http://schemas.openxmlformats.org/officeDocument/2006/relationships/slideLayout" Target="../slideLayouts/slideLayout97.xml"/><Relationship Id="rId48" Type="http://schemas.openxmlformats.org/officeDocument/2006/relationships/slideLayout" Target="../slideLayouts/slideLayout102.xml"/><Relationship Id="rId56" Type="http://schemas.openxmlformats.org/officeDocument/2006/relationships/image" Target="../media/image8.png"/><Relationship Id="rId8" Type="http://schemas.openxmlformats.org/officeDocument/2006/relationships/slideLayout" Target="../slideLayouts/slideLayout62.xml"/><Relationship Id="rId51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slideLayout" Target="../slideLayouts/slideLayout87.xml"/><Relationship Id="rId38" Type="http://schemas.openxmlformats.org/officeDocument/2006/relationships/slideLayout" Target="../slideLayouts/slideLayout92.xml"/><Relationship Id="rId46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74.xml"/><Relationship Id="rId41" Type="http://schemas.openxmlformats.org/officeDocument/2006/relationships/slideLayout" Target="../slideLayouts/slideLayout95.xml"/><Relationship Id="rId54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36" Type="http://schemas.openxmlformats.org/officeDocument/2006/relationships/slideLayout" Target="../slideLayouts/slideLayout90.xml"/><Relationship Id="rId49" Type="http://schemas.openxmlformats.org/officeDocument/2006/relationships/slideLayout" Target="../slideLayouts/slideLayout103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1.xml"/><Relationship Id="rId18" Type="http://schemas.openxmlformats.org/officeDocument/2006/relationships/slideLayout" Target="../slideLayouts/slideLayout126.xml"/><Relationship Id="rId26" Type="http://schemas.openxmlformats.org/officeDocument/2006/relationships/slideLayout" Target="../slideLayouts/slideLayout134.xml"/><Relationship Id="rId39" Type="http://schemas.openxmlformats.org/officeDocument/2006/relationships/slideLayout" Target="../slideLayouts/slideLayout147.xml"/><Relationship Id="rId21" Type="http://schemas.openxmlformats.org/officeDocument/2006/relationships/slideLayout" Target="../slideLayouts/slideLayout129.xml"/><Relationship Id="rId34" Type="http://schemas.openxmlformats.org/officeDocument/2006/relationships/slideLayout" Target="../slideLayouts/slideLayout142.xml"/><Relationship Id="rId42" Type="http://schemas.openxmlformats.org/officeDocument/2006/relationships/slideLayout" Target="../slideLayouts/slideLayout150.xml"/><Relationship Id="rId47" Type="http://schemas.openxmlformats.org/officeDocument/2006/relationships/slideLayout" Target="../slideLayouts/slideLayout155.xml"/><Relationship Id="rId50" Type="http://schemas.openxmlformats.org/officeDocument/2006/relationships/slideLayout" Target="../slideLayouts/slideLayout158.xml"/><Relationship Id="rId55" Type="http://schemas.openxmlformats.org/officeDocument/2006/relationships/vmlDrawing" Target="../drawings/vmlDrawing2.vml"/><Relationship Id="rId7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10.xml"/><Relationship Id="rId16" Type="http://schemas.openxmlformats.org/officeDocument/2006/relationships/slideLayout" Target="../slideLayouts/slideLayout124.xml"/><Relationship Id="rId29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19.xml"/><Relationship Id="rId24" Type="http://schemas.openxmlformats.org/officeDocument/2006/relationships/slideLayout" Target="../slideLayouts/slideLayout132.xml"/><Relationship Id="rId32" Type="http://schemas.openxmlformats.org/officeDocument/2006/relationships/slideLayout" Target="../slideLayouts/slideLayout140.xml"/><Relationship Id="rId37" Type="http://schemas.openxmlformats.org/officeDocument/2006/relationships/slideLayout" Target="../slideLayouts/slideLayout145.xml"/><Relationship Id="rId40" Type="http://schemas.openxmlformats.org/officeDocument/2006/relationships/slideLayout" Target="../slideLayouts/slideLayout148.xml"/><Relationship Id="rId45" Type="http://schemas.openxmlformats.org/officeDocument/2006/relationships/slideLayout" Target="../slideLayouts/slideLayout153.xml"/><Relationship Id="rId53" Type="http://schemas.openxmlformats.org/officeDocument/2006/relationships/slideLayout" Target="../slideLayouts/slideLayout161.xml"/><Relationship Id="rId58" Type="http://schemas.openxmlformats.org/officeDocument/2006/relationships/oleObject" Target="../embeddings/oleObject2.bin"/><Relationship Id="rId5" Type="http://schemas.openxmlformats.org/officeDocument/2006/relationships/slideLayout" Target="../slideLayouts/slideLayout113.xml"/><Relationship Id="rId19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Relationship Id="rId22" Type="http://schemas.openxmlformats.org/officeDocument/2006/relationships/slideLayout" Target="../slideLayouts/slideLayout130.xml"/><Relationship Id="rId27" Type="http://schemas.openxmlformats.org/officeDocument/2006/relationships/slideLayout" Target="../slideLayouts/slideLayout135.xml"/><Relationship Id="rId30" Type="http://schemas.openxmlformats.org/officeDocument/2006/relationships/slideLayout" Target="../slideLayouts/slideLayout138.xml"/><Relationship Id="rId35" Type="http://schemas.openxmlformats.org/officeDocument/2006/relationships/slideLayout" Target="../slideLayouts/slideLayout143.xml"/><Relationship Id="rId43" Type="http://schemas.openxmlformats.org/officeDocument/2006/relationships/slideLayout" Target="../slideLayouts/slideLayout151.xml"/><Relationship Id="rId48" Type="http://schemas.openxmlformats.org/officeDocument/2006/relationships/slideLayout" Target="../slideLayouts/slideLayout156.xml"/><Relationship Id="rId56" Type="http://schemas.openxmlformats.org/officeDocument/2006/relationships/tags" Target="../tags/tag4.xml"/><Relationship Id="rId8" Type="http://schemas.openxmlformats.org/officeDocument/2006/relationships/slideLayout" Target="../slideLayouts/slideLayout116.xml"/><Relationship Id="rId51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25.xml"/><Relationship Id="rId25" Type="http://schemas.openxmlformats.org/officeDocument/2006/relationships/slideLayout" Target="../slideLayouts/slideLayout133.xml"/><Relationship Id="rId33" Type="http://schemas.openxmlformats.org/officeDocument/2006/relationships/slideLayout" Target="../slideLayouts/slideLayout141.xml"/><Relationship Id="rId38" Type="http://schemas.openxmlformats.org/officeDocument/2006/relationships/slideLayout" Target="../slideLayouts/slideLayout146.xml"/><Relationship Id="rId46" Type="http://schemas.openxmlformats.org/officeDocument/2006/relationships/slideLayout" Target="../slideLayouts/slideLayout154.xml"/><Relationship Id="rId59" Type="http://schemas.openxmlformats.org/officeDocument/2006/relationships/image" Target="../media/image14.emf"/><Relationship Id="rId20" Type="http://schemas.openxmlformats.org/officeDocument/2006/relationships/slideLayout" Target="../slideLayouts/slideLayout128.xml"/><Relationship Id="rId41" Type="http://schemas.openxmlformats.org/officeDocument/2006/relationships/slideLayout" Target="../slideLayouts/slideLayout149.xml"/><Relationship Id="rId54" Type="http://schemas.openxmlformats.org/officeDocument/2006/relationships/theme" Target="../theme/theme3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5" Type="http://schemas.openxmlformats.org/officeDocument/2006/relationships/slideLayout" Target="../slideLayouts/slideLayout123.xml"/><Relationship Id="rId23" Type="http://schemas.openxmlformats.org/officeDocument/2006/relationships/slideLayout" Target="../slideLayouts/slideLayout131.xml"/><Relationship Id="rId28" Type="http://schemas.openxmlformats.org/officeDocument/2006/relationships/slideLayout" Target="../slideLayouts/slideLayout136.xml"/><Relationship Id="rId36" Type="http://schemas.openxmlformats.org/officeDocument/2006/relationships/slideLayout" Target="../slideLayouts/slideLayout144.xml"/><Relationship Id="rId49" Type="http://schemas.openxmlformats.org/officeDocument/2006/relationships/slideLayout" Target="../slideLayouts/slideLayout157.xml"/><Relationship Id="rId57" Type="http://schemas.openxmlformats.org/officeDocument/2006/relationships/tags" Target="../tags/tag5.xml"/><Relationship Id="rId10" Type="http://schemas.openxmlformats.org/officeDocument/2006/relationships/slideLayout" Target="../slideLayouts/slideLayout118.xml"/><Relationship Id="rId31" Type="http://schemas.openxmlformats.org/officeDocument/2006/relationships/slideLayout" Target="../slideLayouts/slideLayout139.xml"/><Relationship Id="rId44" Type="http://schemas.openxmlformats.org/officeDocument/2006/relationships/slideLayout" Target="../slideLayouts/slideLayout152.xml"/><Relationship Id="rId52" Type="http://schemas.openxmlformats.org/officeDocument/2006/relationships/slideLayout" Target="../slideLayouts/slideLayout160.xml"/><Relationship Id="rId60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132EDF2F-9D57-4472-957E-1BF2A308FE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748308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Slide" r:id="rId59" imgW="360" imgH="360" progId="TCLayout.ActiveDocument.1">
                  <p:embed/>
                </p:oleObj>
              </mc:Choice>
              <mc:Fallback>
                <p:oleObj name="think-cell Slide" r:id="rId59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xmlns="" id="{132EDF2F-9D57-4472-957E-1BF2A308F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6E585EB0-BCFD-4AF0-9491-56EC1D4B49C5}"/>
              </a:ext>
            </a:extLst>
          </p:cNvPr>
          <p:cNvSpPr/>
          <p:nvPr userDrawn="1">
            <p:custDataLst>
              <p:tags r:id="rId58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2499782" y="6298397"/>
            <a:ext cx="8490250" cy="500072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rtl="0">
              <a:defRPr sz="1000">
                <a:solidFill>
                  <a:schemeClr val="accent3"/>
                </a:solidFill>
              </a:defRPr>
            </a:lvl1pPr>
            <a:lvl2pPr marL="0" indent="0">
              <a:defRPr sz="1000">
                <a:solidFill>
                  <a:schemeClr val="accent3"/>
                </a:solidFill>
              </a:defRPr>
            </a:lvl2pPr>
            <a:lvl3pPr marL="0" indent="0">
              <a:defRPr sz="1000">
                <a:solidFill>
                  <a:schemeClr val="accent3"/>
                </a:solidFill>
              </a:defRPr>
            </a:lvl3pPr>
            <a:lvl4pPr marL="0" indent="0">
              <a:defRPr sz="1000">
                <a:solidFill>
                  <a:schemeClr val="accent3"/>
                </a:solidFill>
              </a:defRPr>
            </a:lvl4pPr>
            <a:lvl5pPr marL="0" indent="0">
              <a:defRPr sz="1000">
                <a:solidFill>
                  <a:schemeClr val="accent3"/>
                </a:solidFill>
              </a:defRPr>
            </a:lvl5pPr>
            <a:lvl6pPr marL="0" indent="0">
              <a:defRPr sz="1000">
                <a:solidFill>
                  <a:schemeClr val="accent3"/>
                </a:solidFill>
              </a:defRPr>
            </a:lvl6pPr>
            <a:lvl7pPr marL="0" indent="0">
              <a:defRPr sz="1000">
                <a:solidFill>
                  <a:schemeClr val="accent3"/>
                </a:solidFill>
              </a:defRPr>
            </a:lvl7pPr>
            <a:lvl8pPr marL="0" indent="0">
              <a:defRPr sz="1000">
                <a:solidFill>
                  <a:schemeClr val="accent3"/>
                </a:solidFill>
              </a:defRPr>
            </a:lvl8pPr>
            <a:lvl9pPr marL="0" indent="0">
              <a:defRPr sz="1000">
                <a:solidFill>
                  <a:schemeClr val="accent3"/>
                </a:solidFill>
              </a:defRPr>
            </a:lvl9pPr>
          </a:lstStyle>
          <a:p>
            <a:pPr rtl="0"/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  <a:lvl2pPr marL="0" indent="0">
              <a:defRPr sz="1000">
                <a:solidFill>
                  <a:schemeClr val="accent3"/>
                </a:solidFill>
              </a:defRPr>
            </a:lvl2pPr>
            <a:lvl3pPr marL="0" indent="0">
              <a:defRPr sz="1000">
                <a:solidFill>
                  <a:schemeClr val="accent3"/>
                </a:solidFill>
              </a:defRPr>
            </a:lvl3pPr>
            <a:lvl4pPr marL="0" indent="0">
              <a:defRPr sz="1000">
                <a:solidFill>
                  <a:schemeClr val="accent3"/>
                </a:solidFill>
              </a:defRPr>
            </a:lvl4pPr>
            <a:lvl5pPr marL="0" indent="0">
              <a:defRPr sz="1000">
                <a:solidFill>
                  <a:schemeClr val="accent3"/>
                </a:solidFill>
              </a:defRPr>
            </a:lvl5pPr>
            <a:lvl6pPr marL="0" indent="0">
              <a:defRPr sz="1000">
                <a:solidFill>
                  <a:schemeClr val="accent3"/>
                </a:solidFill>
              </a:defRPr>
            </a:lvl6pPr>
            <a:lvl7pPr marL="0" indent="0">
              <a:defRPr sz="1000">
                <a:solidFill>
                  <a:schemeClr val="accent3"/>
                </a:solidFill>
              </a:defRPr>
            </a:lvl7pPr>
            <a:lvl8pPr marL="0" indent="0">
              <a:defRPr sz="1000">
                <a:solidFill>
                  <a:schemeClr val="accent3"/>
                </a:solidFill>
              </a:defRPr>
            </a:lvl8pPr>
            <a:lvl9pPr marL="0" indent="0">
              <a:defRPr sz="1000">
                <a:solidFill>
                  <a:schemeClr val="accent3"/>
                </a:solidFill>
              </a:defRPr>
            </a:lvl9pPr>
          </a:lstStyle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33264" y="1931194"/>
            <a:ext cx="11520000" cy="3982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rtl="0"/>
            <a:r>
              <a:rPr lang="pt"/>
              <a:t>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  <a:lvl2pPr marL="0" indent="0">
              <a:defRPr sz="1000">
                <a:solidFill>
                  <a:schemeClr val="accent3"/>
                </a:solidFill>
              </a:defRPr>
            </a:lvl2pPr>
            <a:lvl3pPr marL="0" indent="0">
              <a:defRPr sz="1000">
                <a:solidFill>
                  <a:schemeClr val="accent3"/>
                </a:solidFill>
              </a:defRPr>
            </a:lvl3pPr>
            <a:lvl4pPr marL="0" indent="0">
              <a:defRPr sz="1000">
                <a:solidFill>
                  <a:schemeClr val="accent3"/>
                </a:solidFill>
              </a:defRPr>
            </a:lvl4pPr>
            <a:lvl5pPr marL="0" indent="0">
              <a:defRPr sz="1000">
                <a:solidFill>
                  <a:schemeClr val="accent3"/>
                </a:solidFill>
              </a:defRPr>
            </a:lvl5pPr>
            <a:lvl6pPr marL="0" indent="0">
              <a:defRPr sz="1000">
                <a:solidFill>
                  <a:schemeClr val="accent3"/>
                </a:solidFill>
              </a:defRPr>
            </a:lvl6pPr>
            <a:lvl7pPr marL="0" indent="0">
              <a:defRPr sz="1000">
                <a:solidFill>
                  <a:schemeClr val="accent3"/>
                </a:solidFill>
              </a:defRPr>
            </a:lvl7pPr>
            <a:lvl8pPr marL="0" indent="0">
              <a:defRPr sz="1000">
                <a:solidFill>
                  <a:schemeClr val="accent3"/>
                </a:solidFill>
              </a:defRPr>
            </a:lvl8pPr>
            <a:lvl9pPr marL="0" indent="0">
              <a:defRPr sz="1000">
                <a:solidFill>
                  <a:schemeClr val="accent3"/>
                </a:solidFill>
              </a:defRPr>
            </a:lvl9pPr>
          </a:lstStyle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 bwMode="gray">
          <a:xfrm>
            <a:off x="335577" y="6094413"/>
            <a:ext cx="1152000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68" name="Group 67"/>
          <p:cNvGrpSpPr/>
          <p:nvPr/>
        </p:nvGrpSpPr>
        <p:grpSpPr bwMode="gray">
          <a:xfrm>
            <a:off x="334271" y="6327549"/>
            <a:ext cx="337946" cy="88364"/>
            <a:chOff x="61913" y="5218113"/>
            <a:chExt cx="3138487" cy="820737"/>
          </a:xfrm>
          <a:solidFill>
            <a:schemeClr val="accent3"/>
          </a:solidFill>
        </p:grpSpPr>
        <p:sp>
          <p:nvSpPr>
            <p:cNvPr id="69" name="Freeform 16"/>
            <p:cNvSpPr>
              <a:spLocks noEditPoints="1"/>
            </p:cNvSpPr>
            <p:nvPr userDrawn="1"/>
          </p:nvSpPr>
          <p:spPr bwMode="gray">
            <a:xfrm>
              <a:off x="61913" y="5218113"/>
              <a:ext cx="828675" cy="820737"/>
            </a:xfrm>
            <a:custGeom>
              <a:avLst/>
              <a:gdLst>
                <a:gd name="T0" fmla="*/ 111 w 221"/>
                <a:gd name="T1" fmla="*/ 219 h 219"/>
                <a:gd name="T2" fmla="*/ 53 w 221"/>
                <a:gd name="T3" fmla="*/ 203 h 219"/>
                <a:gd name="T4" fmla="*/ 14 w 221"/>
                <a:gd name="T5" fmla="*/ 163 h 219"/>
                <a:gd name="T6" fmla="*/ 0 w 221"/>
                <a:gd name="T7" fmla="*/ 109 h 219"/>
                <a:gd name="T8" fmla="*/ 15 w 221"/>
                <a:gd name="T9" fmla="*/ 53 h 219"/>
                <a:gd name="T10" fmla="*/ 56 w 221"/>
                <a:gd name="T11" fmla="*/ 14 h 219"/>
                <a:gd name="T12" fmla="*/ 111 w 221"/>
                <a:gd name="T13" fmla="*/ 0 h 219"/>
                <a:gd name="T14" fmla="*/ 168 w 221"/>
                <a:gd name="T15" fmla="*/ 15 h 219"/>
                <a:gd name="T16" fmla="*/ 207 w 221"/>
                <a:gd name="T17" fmla="*/ 55 h 219"/>
                <a:gd name="T18" fmla="*/ 221 w 221"/>
                <a:gd name="T19" fmla="*/ 109 h 219"/>
                <a:gd name="T20" fmla="*/ 206 w 221"/>
                <a:gd name="T21" fmla="*/ 166 h 219"/>
                <a:gd name="T22" fmla="*/ 165 w 221"/>
                <a:gd name="T23" fmla="*/ 205 h 219"/>
                <a:gd name="T24" fmla="*/ 111 w 221"/>
                <a:gd name="T25" fmla="*/ 219 h 219"/>
                <a:gd name="T26" fmla="*/ 111 w 221"/>
                <a:gd name="T27" fmla="*/ 190 h 219"/>
                <a:gd name="T28" fmla="*/ 153 w 221"/>
                <a:gd name="T29" fmla="*/ 180 h 219"/>
                <a:gd name="T30" fmla="*/ 181 w 221"/>
                <a:gd name="T31" fmla="*/ 151 h 219"/>
                <a:gd name="T32" fmla="*/ 191 w 221"/>
                <a:gd name="T33" fmla="*/ 109 h 219"/>
                <a:gd name="T34" fmla="*/ 180 w 221"/>
                <a:gd name="T35" fmla="*/ 67 h 219"/>
                <a:gd name="T36" fmla="*/ 151 w 221"/>
                <a:gd name="T37" fmla="*/ 38 h 219"/>
                <a:gd name="T38" fmla="*/ 111 w 221"/>
                <a:gd name="T39" fmla="*/ 28 h 219"/>
                <a:gd name="T40" fmla="*/ 68 w 221"/>
                <a:gd name="T41" fmla="*/ 39 h 219"/>
                <a:gd name="T42" fmla="*/ 40 w 221"/>
                <a:gd name="T43" fmla="*/ 68 h 219"/>
                <a:gd name="T44" fmla="*/ 31 w 221"/>
                <a:gd name="T45" fmla="*/ 109 h 219"/>
                <a:gd name="T46" fmla="*/ 41 w 221"/>
                <a:gd name="T47" fmla="*/ 152 h 219"/>
                <a:gd name="T48" fmla="*/ 70 w 221"/>
                <a:gd name="T49" fmla="*/ 180 h 219"/>
                <a:gd name="T50" fmla="*/ 111 w 221"/>
                <a:gd name="T51" fmla="*/ 190 h 219"/>
                <a:gd name="T52" fmla="*/ 115 w 221"/>
                <a:gd name="T53" fmla="*/ 50 h 219"/>
                <a:gd name="T54" fmla="*/ 139 w 221"/>
                <a:gd name="T55" fmla="*/ 54 h 219"/>
                <a:gd name="T56" fmla="*/ 156 w 221"/>
                <a:gd name="T57" fmla="*/ 63 h 219"/>
                <a:gd name="T58" fmla="*/ 145 w 221"/>
                <a:gd name="T59" fmla="*/ 85 h 219"/>
                <a:gd name="T60" fmla="*/ 117 w 221"/>
                <a:gd name="T61" fmla="*/ 76 h 219"/>
                <a:gd name="T62" fmla="*/ 93 w 221"/>
                <a:gd name="T63" fmla="*/ 85 h 219"/>
                <a:gd name="T64" fmla="*/ 84 w 221"/>
                <a:gd name="T65" fmla="*/ 110 h 219"/>
                <a:gd name="T66" fmla="*/ 93 w 221"/>
                <a:gd name="T67" fmla="*/ 134 h 219"/>
                <a:gd name="T68" fmla="*/ 117 w 221"/>
                <a:gd name="T69" fmla="*/ 143 h 219"/>
                <a:gd name="T70" fmla="*/ 146 w 221"/>
                <a:gd name="T71" fmla="*/ 132 h 219"/>
                <a:gd name="T72" fmla="*/ 158 w 221"/>
                <a:gd name="T73" fmla="*/ 153 h 219"/>
                <a:gd name="T74" fmla="*/ 140 w 221"/>
                <a:gd name="T75" fmla="*/ 165 h 219"/>
                <a:gd name="T76" fmla="*/ 115 w 221"/>
                <a:gd name="T77" fmla="*/ 169 h 219"/>
                <a:gd name="T78" fmla="*/ 71 w 221"/>
                <a:gd name="T79" fmla="*/ 153 h 219"/>
                <a:gd name="T80" fmla="*/ 54 w 221"/>
                <a:gd name="T81" fmla="*/ 111 h 219"/>
                <a:gd name="T82" fmla="*/ 71 w 221"/>
                <a:gd name="T83" fmla="*/ 67 h 219"/>
                <a:gd name="T84" fmla="*/ 115 w 221"/>
                <a:gd name="T85" fmla="*/ 5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1" h="219">
                  <a:moveTo>
                    <a:pt x="111" y="219"/>
                  </a:moveTo>
                  <a:cubicBezTo>
                    <a:pt x="89" y="219"/>
                    <a:pt x="70" y="214"/>
                    <a:pt x="53" y="203"/>
                  </a:cubicBezTo>
                  <a:cubicBezTo>
                    <a:pt x="36" y="193"/>
                    <a:pt x="23" y="180"/>
                    <a:pt x="14" y="163"/>
                  </a:cubicBezTo>
                  <a:cubicBezTo>
                    <a:pt x="4" y="147"/>
                    <a:pt x="0" y="129"/>
                    <a:pt x="0" y="109"/>
                  </a:cubicBezTo>
                  <a:cubicBezTo>
                    <a:pt x="0" y="88"/>
                    <a:pt x="5" y="70"/>
                    <a:pt x="15" y="53"/>
                  </a:cubicBezTo>
                  <a:cubicBezTo>
                    <a:pt x="25" y="36"/>
                    <a:pt x="39" y="23"/>
                    <a:pt x="56" y="14"/>
                  </a:cubicBezTo>
                  <a:cubicBezTo>
                    <a:pt x="73" y="5"/>
                    <a:pt x="91" y="0"/>
                    <a:pt x="111" y="0"/>
                  </a:cubicBezTo>
                  <a:cubicBezTo>
                    <a:pt x="132" y="0"/>
                    <a:pt x="151" y="5"/>
                    <a:pt x="168" y="15"/>
                  </a:cubicBezTo>
                  <a:cubicBezTo>
                    <a:pt x="185" y="26"/>
                    <a:pt x="198" y="39"/>
                    <a:pt x="207" y="55"/>
                  </a:cubicBezTo>
                  <a:cubicBezTo>
                    <a:pt x="217" y="72"/>
                    <a:pt x="221" y="90"/>
                    <a:pt x="221" y="109"/>
                  </a:cubicBezTo>
                  <a:cubicBezTo>
                    <a:pt x="221" y="130"/>
                    <a:pt x="216" y="149"/>
                    <a:pt x="206" y="166"/>
                  </a:cubicBezTo>
                  <a:cubicBezTo>
                    <a:pt x="196" y="183"/>
                    <a:pt x="182" y="196"/>
                    <a:pt x="165" y="205"/>
                  </a:cubicBezTo>
                  <a:cubicBezTo>
                    <a:pt x="149" y="214"/>
                    <a:pt x="130" y="219"/>
                    <a:pt x="111" y="219"/>
                  </a:cubicBezTo>
                  <a:close/>
                  <a:moveTo>
                    <a:pt x="111" y="190"/>
                  </a:moveTo>
                  <a:cubicBezTo>
                    <a:pt x="127" y="190"/>
                    <a:pt x="141" y="187"/>
                    <a:pt x="153" y="180"/>
                  </a:cubicBezTo>
                  <a:cubicBezTo>
                    <a:pt x="165" y="173"/>
                    <a:pt x="174" y="163"/>
                    <a:pt x="181" y="151"/>
                  </a:cubicBezTo>
                  <a:cubicBezTo>
                    <a:pt x="187" y="139"/>
                    <a:pt x="191" y="125"/>
                    <a:pt x="191" y="109"/>
                  </a:cubicBezTo>
                  <a:cubicBezTo>
                    <a:pt x="191" y="93"/>
                    <a:pt x="187" y="79"/>
                    <a:pt x="180" y="67"/>
                  </a:cubicBezTo>
                  <a:cubicBezTo>
                    <a:pt x="173" y="55"/>
                    <a:pt x="163" y="45"/>
                    <a:pt x="151" y="38"/>
                  </a:cubicBezTo>
                  <a:cubicBezTo>
                    <a:pt x="139" y="32"/>
                    <a:pt x="126" y="28"/>
                    <a:pt x="111" y="28"/>
                  </a:cubicBezTo>
                  <a:cubicBezTo>
                    <a:pt x="95" y="28"/>
                    <a:pt x="81" y="32"/>
                    <a:pt x="68" y="39"/>
                  </a:cubicBezTo>
                  <a:cubicBezTo>
                    <a:pt x="56" y="46"/>
                    <a:pt x="47" y="56"/>
                    <a:pt x="40" y="68"/>
                  </a:cubicBezTo>
                  <a:cubicBezTo>
                    <a:pt x="34" y="80"/>
                    <a:pt x="31" y="94"/>
                    <a:pt x="31" y="109"/>
                  </a:cubicBezTo>
                  <a:cubicBezTo>
                    <a:pt x="31" y="126"/>
                    <a:pt x="34" y="140"/>
                    <a:pt x="41" y="152"/>
                  </a:cubicBezTo>
                  <a:cubicBezTo>
                    <a:pt x="48" y="164"/>
                    <a:pt x="58" y="174"/>
                    <a:pt x="70" y="180"/>
                  </a:cubicBezTo>
                  <a:cubicBezTo>
                    <a:pt x="82" y="187"/>
                    <a:pt x="95" y="190"/>
                    <a:pt x="111" y="190"/>
                  </a:cubicBezTo>
                  <a:close/>
                  <a:moveTo>
                    <a:pt x="115" y="50"/>
                  </a:moveTo>
                  <a:cubicBezTo>
                    <a:pt x="124" y="50"/>
                    <a:pt x="131" y="51"/>
                    <a:pt x="139" y="54"/>
                  </a:cubicBezTo>
                  <a:cubicBezTo>
                    <a:pt x="146" y="56"/>
                    <a:pt x="152" y="59"/>
                    <a:pt x="156" y="63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37" y="79"/>
                    <a:pt x="128" y="76"/>
                    <a:pt x="117" y="76"/>
                  </a:cubicBezTo>
                  <a:cubicBezTo>
                    <a:pt x="107" y="76"/>
                    <a:pt x="99" y="79"/>
                    <a:pt x="93" y="85"/>
                  </a:cubicBezTo>
                  <a:cubicBezTo>
                    <a:pt x="87" y="91"/>
                    <a:pt x="84" y="100"/>
                    <a:pt x="84" y="110"/>
                  </a:cubicBezTo>
                  <a:cubicBezTo>
                    <a:pt x="84" y="120"/>
                    <a:pt x="87" y="128"/>
                    <a:pt x="93" y="134"/>
                  </a:cubicBezTo>
                  <a:cubicBezTo>
                    <a:pt x="99" y="140"/>
                    <a:pt x="107" y="143"/>
                    <a:pt x="117" y="143"/>
                  </a:cubicBezTo>
                  <a:cubicBezTo>
                    <a:pt x="129" y="143"/>
                    <a:pt x="138" y="139"/>
                    <a:pt x="146" y="132"/>
                  </a:cubicBezTo>
                  <a:cubicBezTo>
                    <a:pt x="158" y="153"/>
                    <a:pt x="158" y="153"/>
                    <a:pt x="158" y="153"/>
                  </a:cubicBezTo>
                  <a:cubicBezTo>
                    <a:pt x="153" y="158"/>
                    <a:pt x="147" y="162"/>
                    <a:pt x="140" y="165"/>
                  </a:cubicBezTo>
                  <a:cubicBezTo>
                    <a:pt x="132" y="168"/>
                    <a:pt x="124" y="169"/>
                    <a:pt x="115" y="169"/>
                  </a:cubicBezTo>
                  <a:cubicBezTo>
                    <a:pt x="97" y="169"/>
                    <a:pt x="82" y="164"/>
                    <a:pt x="71" y="153"/>
                  </a:cubicBezTo>
                  <a:cubicBezTo>
                    <a:pt x="60" y="142"/>
                    <a:pt x="54" y="128"/>
                    <a:pt x="54" y="111"/>
                  </a:cubicBezTo>
                  <a:cubicBezTo>
                    <a:pt x="54" y="93"/>
                    <a:pt x="60" y="78"/>
                    <a:pt x="71" y="67"/>
                  </a:cubicBezTo>
                  <a:cubicBezTo>
                    <a:pt x="82" y="56"/>
                    <a:pt x="97" y="50"/>
                    <a:pt x="11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 dirty="0"/>
            </a:p>
          </p:txBody>
        </p:sp>
        <p:sp>
          <p:nvSpPr>
            <p:cNvPr id="70" name="Freeform 17"/>
            <p:cNvSpPr>
              <a:spLocks noEditPoints="1"/>
            </p:cNvSpPr>
            <p:nvPr userDrawn="1"/>
          </p:nvSpPr>
          <p:spPr bwMode="gray">
            <a:xfrm>
              <a:off x="957263" y="5237163"/>
              <a:ext cx="773112" cy="782637"/>
            </a:xfrm>
            <a:custGeom>
              <a:avLst/>
              <a:gdLst>
                <a:gd name="T0" fmla="*/ 305 w 487"/>
                <a:gd name="T1" fmla="*/ 0 h 493"/>
                <a:gd name="T2" fmla="*/ 487 w 487"/>
                <a:gd name="T3" fmla="*/ 493 h 493"/>
                <a:gd name="T4" fmla="*/ 369 w 487"/>
                <a:gd name="T5" fmla="*/ 493 h 493"/>
                <a:gd name="T6" fmla="*/ 336 w 487"/>
                <a:gd name="T7" fmla="*/ 390 h 493"/>
                <a:gd name="T8" fmla="*/ 151 w 487"/>
                <a:gd name="T9" fmla="*/ 390 h 493"/>
                <a:gd name="T10" fmla="*/ 118 w 487"/>
                <a:gd name="T11" fmla="*/ 493 h 493"/>
                <a:gd name="T12" fmla="*/ 0 w 487"/>
                <a:gd name="T13" fmla="*/ 493 h 493"/>
                <a:gd name="T14" fmla="*/ 184 w 487"/>
                <a:gd name="T15" fmla="*/ 0 h 493"/>
                <a:gd name="T16" fmla="*/ 305 w 487"/>
                <a:gd name="T17" fmla="*/ 0 h 493"/>
                <a:gd name="T18" fmla="*/ 180 w 487"/>
                <a:gd name="T19" fmla="*/ 300 h 493"/>
                <a:gd name="T20" fmla="*/ 307 w 487"/>
                <a:gd name="T21" fmla="*/ 300 h 493"/>
                <a:gd name="T22" fmla="*/ 243 w 487"/>
                <a:gd name="T23" fmla="*/ 104 h 493"/>
                <a:gd name="T24" fmla="*/ 180 w 487"/>
                <a:gd name="T25" fmla="*/ 300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7" h="493">
                  <a:moveTo>
                    <a:pt x="305" y="0"/>
                  </a:moveTo>
                  <a:lnTo>
                    <a:pt x="487" y="493"/>
                  </a:lnTo>
                  <a:lnTo>
                    <a:pt x="369" y="493"/>
                  </a:lnTo>
                  <a:lnTo>
                    <a:pt x="336" y="390"/>
                  </a:lnTo>
                  <a:lnTo>
                    <a:pt x="151" y="390"/>
                  </a:lnTo>
                  <a:lnTo>
                    <a:pt x="118" y="493"/>
                  </a:lnTo>
                  <a:lnTo>
                    <a:pt x="0" y="493"/>
                  </a:lnTo>
                  <a:lnTo>
                    <a:pt x="184" y="0"/>
                  </a:lnTo>
                  <a:lnTo>
                    <a:pt x="305" y="0"/>
                  </a:lnTo>
                  <a:close/>
                  <a:moveTo>
                    <a:pt x="180" y="300"/>
                  </a:moveTo>
                  <a:lnTo>
                    <a:pt x="307" y="300"/>
                  </a:lnTo>
                  <a:lnTo>
                    <a:pt x="243" y="104"/>
                  </a:lnTo>
                  <a:lnTo>
                    <a:pt x="18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 dirty="0"/>
            </a:p>
          </p:txBody>
        </p:sp>
        <p:sp>
          <p:nvSpPr>
            <p:cNvPr id="71" name="Freeform 18"/>
            <p:cNvSpPr>
              <a:spLocks noEditPoints="1"/>
            </p:cNvSpPr>
            <p:nvPr userDrawn="1"/>
          </p:nvSpPr>
          <p:spPr bwMode="gray">
            <a:xfrm>
              <a:off x="1819275" y="5237163"/>
              <a:ext cx="622300" cy="782637"/>
            </a:xfrm>
            <a:custGeom>
              <a:avLst/>
              <a:gdLst>
                <a:gd name="T0" fmla="*/ 0 w 166"/>
                <a:gd name="T1" fmla="*/ 0 h 209"/>
                <a:gd name="T2" fmla="*/ 82 w 166"/>
                <a:gd name="T3" fmla="*/ 0 h 209"/>
                <a:gd name="T4" fmla="*/ 132 w 166"/>
                <a:gd name="T5" fmla="*/ 15 h 209"/>
                <a:gd name="T6" fmla="*/ 150 w 166"/>
                <a:gd name="T7" fmla="*/ 53 h 209"/>
                <a:gd name="T8" fmla="*/ 128 w 166"/>
                <a:gd name="T9" fmla="*/ 94 h 209"/>
                <a:gd name="T10" fmla="*/ 166 w 166"/>
                <a:gd name="T11" fmla="*/ 146 h 209"/>
                <a:gd name="T12" fmla="*/ 146 w 166"/>
                <a:gd name="T13" fmla="*/ 192 h 209"/>
                <a:gd name="T14" fmla="*/ 86 w 166"/>
                <a:gd name="T15" fmla="*/ 209 h 209"/>
                <a:gd name="T16" fmla="*/ 0 w 166"/>
                <a:gd name="T17" fmla="*/ 209 h 209"/>
                <a:gd name="T18" fmla="*/ 0 w 166"/>
                <a:gd name="T19" fmla="*/ 0 h 209"/>
                <a:gd name="T20" fmla="*/ 78 w 166"/>
                <a:gd name="T21" fmla="*/ 81 h 209"/>
                <a:gd name="T22" fmla="*/ 99 w 166"/>
                <a:gd name="T23" fmla="*/ 75 h 209"/>
                <a:gd name="T24" fmla="*/ 106 w 166"/>
                <a:gd name="T25" fmla="*/ 59 h 209"/>
                <a:gd name="T26" fmla="*/ 99 w 166"/>
                <a:gd name="T27" fmla="*/ 42 h 209"/>
                <a:gd name="T28" fmla="*/ 79 w 166"/>
                <a:gd name="T29" fmla="*/ 37 h 209"/>
                <a:gd name="T30" fmla="*/ 46 w 166"/>
                <a:gd name="T31" fmla="*/ 37 h 209"/>
                <a:gd name="T32" fmla="*/ 46 w 166"/>
                <a:gd name="T33" fmla="*/ 81 h 209"/>
                <a:gd name="T34" fmla="*/ 78 w 166"/>
                <a:gd name="T35" fmla="*/ 81 h 209"/>
                <a:gd name="T36" fmla="*/ 84 w 166"/>
                <a:gd name="T37" fmla="*/ 172 h 209"/>
                <a:gd name="T38" fmla="*/ 111 w 166"/>
                <a:gd name="T39" fmla="*/ 165 h 209"/>
                <a:gd name="T40" fmla="*/ 120 w 166"/>
                <a:gd name="T41" fmla="*/ 145 h 209"/>
                <a:gd name="T42" fmla="*/ 111 w 166"/>
                <a:gd name="T43" fmla="*/ 124 h 209"/>
                <a:gd name="T44" fmla="*/ 85 w 166"/>
                <a:gd name="T45" fmla="*/ 117 h 209"/>
                <a:gd name="T46" fmla="*/ 46 w 166"/>
                <a:gd name="T47" fmla="*/ 117 h 209"/>
                <a:gd name="T48" fmla="*/ 46 w 166"/>
                <a:gd name="T49" fmla="*/ 172 h 209"/>
                <a:gd name="T50" fmla="*/ 84 w 166"/>
                <a:gd name="T51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209">
                  <a:moveTo>
                    <a:pt x="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103" y="0"/>
                    <a:pt x="119" y="5"/>
                    <a:pt x="132" y="15"/>
                  </a:cubicBezTo>
                  <a:cubicBezTo>
                    <a:pt x="144" y="24"/>
                    <a:pt x="150" y="37"/>
                    <a:pt x="150" y="53"/>
                  </a:cubicBezTo>
                  <a:cubicBezTo>
                    <a:pt x="150" y="71"/>
                    <a:pt x="143" y="84"/>
                    <a:pt x="128" y="94"/>
                  </a:cubicBezTo>
                  <a:cubicBezTo>
                    <a:pt x="154" y="103"/>
                    <a:pt x="166" y="120"/>
                    <a:pt x="166" y="146"/>
                  </a:cubicBezTo>
                  <a:cubicBezTo>
                    <a:pt x="166" y="166"/>
                    <a:pt x="160" y="182"/>
                    <a:pt x="146" y="192"/>
                  </a:cubicBezTo>
                  <a:cubicBezTo>
                    <a:pt x="132" y="203"/>
                    <a:pt x="112" y="209"/>
                    <a:pt x="86" y="209"/>
                  </a:cubicBezTo>
                  <a:cubicBezTo>
                    <a:pt x="0" y="209"/>
                    <a:pt x="0" y="209"/>
                    <a:pt x="0" y="209"/>
                  </a:cubicBezTo>
                  <a:lnTo>
                    <a:pt x="0" y="0"/>
                  </a:lnTo>
                  <a:close/>
                  <a:moveTo>
                    <a:pt x="78" y="81"/>
                  </a:moveTo>
                  <a:cubicBezTo>
                    <a:pt x="87" y="81"/>
                    <a:pt x="94" y="79"/>
                    <a:pt x="99" y="75"/>
                  </a:cubicBezTo>
                  <a:cubicBezTo>
                    <a:pt x="104" y="71"/>
                    <a:pt x="106" y="66"/>
                    <a:pt x="106" y="59"/>
                  </a:cubicBezTo>
                  <a:cubicBezTo>
                    <a:pt x="106" y="52"/>
                    <a:pt x="104" y="46"/>
                    <a:pt x="99" y="42"/>
                  </a:cubicBezTo>
                  <a:cubicBezTo>
                    <a:pt x="94" y="38"/>
                    <a:pt x="87" y="37"/>
                    <a:pt x="79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81"/>
                    <a:pt x="46" y="81"/>
                    <a:pt x="46" y="81"/>
                  </a:cubicBezTo>
                  <a:lnTo>
                    <a:pt x="78" y="81"/>
                  </a:lnTo>
                  <a:close/>
                  <a:moveTo>
                    <a:pt x="84" y="172"/>
                  </a:moveTo>
                  <a:cubicBezTo>
                    <a:pt x="96" y="172"/>
                    <a:pt x="105" y="169"/>
                    <a:pt x="111" y="165"/>
                  </a:cubicBezTo>
                  <a:cubicBezTo>
                    <a:pt x="117" y="160"/>
                    <a:pt x="120" y="154"/>
                    <a:pt x="120" y="145"/>
                  </a:cubicBezTo>
                  <a:cubicBezTo>
                    <a:pt x="120" y="136"/>
                    <a:pt x="117" y="129"/>
                    <a:pt x="111" y="124"/>
                  </a:cubicBezTo>
                  <a:cubicBezTo>
                    <a:pt x="105" y="119"/>
                    <a:pt x="96" y="117"/>
                    <a:pt x="85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72"/>
                    <a:pt x="46" y="172"/>
                    <a:pt x="46" y="172"/>
                  </a:cubicBezTo>
                  <a:lnTo>
                    <a:pt x="8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 dirty="0"/>
            </a:p>
          </p:txBody>
        </p:sp>
        <p:sp>
          <p:nvSpPr>
            <p:cNvPr id="72" name="Freeform 19"/>
            <p:cNvSpPr>
              <a:spLocks noEditPoints="1"/>
            </p:cNvSpPr>
            <p:nvPr userDrawn="1"/>
          </p:nvSpPr>
          <p:spPr bwMode="gray">
            <a:xfrm>
              <a:off x="2573338" y="5237163"/>
              <a:ext cx="627062" cy="782637"/>
            </a:xfrm>
            <a:custGeom>
              <a:avLst/>
              <a:gdLst>
                <a:gd name="T0" fmla="*/ 0 w 167"/>
                <a:gd name="T1" fmla="*/ 0 h 209"/>
                <a:gd name="T2" fmla="*/ 82 w 167"/>
                <a:gd name="T3" fmla="*/ 0 h 209"/>
                <a:gd name="T4" fmla="*/ 132 w 167"/>
                <a:gd name="T5" fmla="*/ 15 h 209"/>
                <a:gd name="T6" fmla="*/ 150 w 167"/>
                <a:gd name="T7" fmla="*/ 53 h 209"/>
                <a:gd name="T8" fmla="*/ 128 w 167"/>
                <a:gd name="T9" fmla="*/ 94 h 209"/>
                <a:gd name="T10" fmla="*/ 167 w 167"/>
                <a:gd name="T11" fmla="*/ 146 h 209"/>
                <a:gd name="T12" fmla="*/ 146 w 167"/>
                <a:gd name="T13" fmla="*/ 192 h 209"/>
                <a:gd name="T14" fmla="*/ 86 w 167"/>
                <a:gd name="T15" fmla="*/ 209 h 209"/>
                <a:gd name="T16" fmla="*/ 0 w 167"/>
                <a:gd name="T17" fmla="*/ 209 h 209"/>
                <a:gd name="T18" fmla="*/ 0 w 167"/>
                <a:gd name="T19" fmla="*/ 0 h 209"/>
                <a:gd name="T20" fmla="*/ 79 w 167"/>
                <a:gd name="T21" fmla="*/ 81 h 209"/>
                <a:gd name="T22" fmla="*/ 99 w 167"/>
                <a:gd name="T23" fmla="*/ 75 h 209"/>
                <a:gd name="T24" fmla="*/ 106 w 167"/>
                <a:gd name="T25" fmla="*/ 59 h 209"/>
                <a:gd name="T26" fmla="*/ 99 w 167"/>
                <a:gd name="T27" fmla="*/ 42 h 209"/>
                <a:gd name="T28" fmla="*/ 79 w 167"/>
                <a:gd name="T29" fmla="*/ 37 h 209"/>
                <a:gd name="T30" fmla="*/ 46 w 167"/>
                <a:gd name="T31" fmla="*/ 37 h 209"/>
                <a:gd name="T32" fmla="*/ 46 w 167"/>
                <a:gd name="T33" fmla="*/ 81 h 209"/>
                <a:gd name="T34" fmla="*/ 79 w 167"/>
                <a:gd name="T35" fmla="*/ 81 h 209"/>
                <a:gd name="T36" fmla="*/ 84 w 167"/>
                <a:gd name="T37" fmla="*/ 172 h 209"/>
                <a:gd name="T38" fmla="*/ 111 w 167"/>
                <a:gd name="T39" fmla="*/ 165 h 209"/>
                <a:gd name="T40" fmla="*/ 121 w 167"/>
                <a:gd name="T41" fmla="*/ 145 h 209"/>
                <a:gd name="T42" fmla="*/ 111 w 167"/>
                <a:gd name="T43" fmla="*/ 124 h 209"/>
                <a:gd name="T44" fmla="*/ 85 w 167"/>
                <a:gd name="T45" fmla="*/ 117 h 209"/>
                <a:gd name="T46" fmla="*/ 46 w 167"/>
                <a:gd name="T47" fmla="*/ 117 h 209"/>
                <a:gd name="T48" fmla="*/ 46 w 167"/>
                <a:gd name="T49" fmla="*/ 172 h 209"/>
                <a:gd name="T50" fmla="*/ 84 w 167"/>
                <a:gd name="T51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9">
                  <a:moveTo>
                    <a:pt x="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103" y="0"/>
                    <a:pt x="120" y="5"/>
                    <a:pt x="132" y="15"/>
                  </a:cubicBezTo>
                  <a:cubicBezTo>
                    <a:pt x="144" y="24"/>
                    <a:pt x="150" y="37"/>
                    <a:pt x="150" y="53"/>
                  </a:cubicBezTo>
                  <a:cubicBezTo>
                    <a:pt x="150" y="71"/>
                    <a:pt x="143" y="84"/>
                    <a:pt x="128" y="94"/>
                  </a:cubicBezTo>
                  <a:cubicBezTo>
                    <a:pt x="154" y="103"/>
                    <a:pt x="167" y="120"/>
                    <a:pt x="167" y="146"/>
                  </a:cubicBezTo>
                  <a:cubicBezTo>
                    <a:pt x="167" y="166"/>
                    <a:pt x="160" y="182"/>
                    <a:pt x="146" y="192"/>
                  </a:cubicBezTo>
                  <a:cubicBezTo>
                    <a:pt x="132" y="203"/>
                    <a:pt x="112" y="209"/>
                    <a:pt x="86" y="209"/>
                  </a:cubicBezTo>
                  <a:cubicBezTo>
                    <a:pt x="0" y="209"/>
                    <a:pt x="0" y="209"/>
                    <a:pt x="0" y="209"/>
                  </a:cubicBezTo>
                  <a:lnTo>
                    <a:pt x="0" y="0"/>
                  </a:lnTo>
                  <a:close/>
                  <a:moveTo>
                    <a:pt x="79" y="81"/>
                  </a:moveTo>
                  <a:cubicBezTo>
                    <a:pt x="87" y="81"/>
                    <a:pt x="94" y="79"/>
                    <a:pt x="99" y="75"/>
                  </a:cubicBezTo>
                  <a:cubicBezTo>
                    <a:pt x="104" y="71"/>
                    <a:pt x="106" y="66"/>
                    <a:pt x="106" y="59"/>
                  </a:cubicBezTo>
                  <a:cubicBezTo>
                    <a:pt x="106" y="52"/>
                    <a:pt x="104" y="46"/>
                    <a:pt x="99" y="42"/>
                  </a:cubicBezTo>
                  <a:cubicBezTo>
                    <a:pt x="94" y="38"/>
                    <a:pt x="88" y="37"/>
                    <a:pt x="79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81"/>
                    <a:pt x="46" y="81"/>
                    <a:pt x="46" y="81"/>
                  </a:cubicBezTo>
                  <a:lnTo>
                    <a:pt x="79" y="81"/>
                  </a:lnTo>
                  <a:close/>
                  <a:moveTo>
                    <a:pt x="84" y="172"/>
                  </a:moveTo>
                  <a:cubicBezTo>
                    <a:pt x="96" y="172"/>
                    <a:pt x="105" y="169"/>
                    <a:pt x="111" y="165"/>
                  </a:cubicBezTo>
                  <a:cubicBezTo>
                    <a:pt x="118" y="160"/>
                    <a:pt x="121" y="154"/>
                    <a:pt x="121" y="145"/>
                  </a:cubicBezTo>
                  <a:cubicBezTo>
                    <a:pt x="121" y="136"/>
                    <a:pt x="117" y="129"/>
                    <a:pt x="111" y="124"/>
                  </a:cubicBezTo>
                  <a:cubicBezTo>
                    <a:pt x="105" y="119"/>
                    <a:pt x="96" y="117"/>
                    <a:pt x="85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72"/>
                    <a:pt x="46" y="172"/>
                    <a:pt x="46" y="172"/>
                  </a:cubicBezTo>
                  <a:lnTo>
                    <a:pt x="8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 dirty="0"/>
            </a:p>
          </p:txBody>
        </p:sp>
      </p:grpSp>
      <p:cxnSp>
        <p:nvCxnSpPr>
          <p:cNvPr id="73" name="Straight Connector 72"/>
          <p:cNvCxnSpPr/>
          <p:nvPr/>
        </p:nvCxnSpPr>
        <p:spPr bwMode="gray">
          <a:xfrm>
            <a:off x="1692854" y="6472543"/>
            <a:ext cx="0" cy="132461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 bwMode="gray">
          <a:xfrm>
            <a:off x="242214" y="426352"/>
            <a:ext cx="55097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2400" b="1">
                <a:solidFill>
                  <a:schemeClr val="bg2"/>
                </a:solidFill>
              </a:rPr>
              <a:t>—</a:t>
            </a:r>
            <a:endParaRPr lang="en-US" sz="2400" b="1" dirty="0">
              <a:solidFill>
                <a:schemeClr val="bg2"/>
              </a:solidFill>
            </a:endParaRPr>
          </a:p>
        </p:txBody>
      </p:sp>
      <p:pic>
        <p:nvPicPr>
          <p:cNvPr id="16" name="Picture 19"/>
          <p:cNvPicPr>
            <a:picLocks noChangeAspect="1" noChangeArrowheads="1"/>
          </p:cNvPicPr>
          <p:nvPr userDrawn="1"/>
        </p:nvPicPr>
        <p:blipFill>
          <a:blip r:embed="rId6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45664" y="6393976"/>
            <a:ext cx="507600" cy="194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2401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90" r:id="rId2"/>
    <p:sldLayoutId id="2147483655" r:id="rId3"/>
    <p:sldLayoutId id="2147483656" r:id="rId4"/>
    <p:sldLayoutId id="2147483657" r:id="rId5"/>
    <p:sldLayoutId id="2147483658" r:id="rId6"/>
    <p:sldLayoutId id="2147483653" r:id="rId7"/>
    <p:sldLayoutId id="2147483650" r:id="rId8"/>
    <p:sldLayoutId id="2147483691" r:id="rId9"/>
    <p:sldLayoutId id="2147483661" r:id="rId10"/>
    <p:sldLayoutId id="2147483696" r:id="rId11"/>
    <p:sldLayoutId id="2147483663" r:id="rId12"/>
    <p:sldLayoutId id="2147483662" r:id="rId13"/>
    <p:sldLayoutId id="2147483664" r:id="rId14"/>
    <p:sldLayoutId id="2147483692" r:id="rId15"/>
    <p:sldLayoutId id="2147483693" r:id="rId16"/>
    <p:sldLayoutId id="2147483665" r:id="rId17"/>
    <p:sldLayoutId id="2147483667" r:id="rId18"/>
    <p:sldLayoutId id="2147483668" r:id="rId19"/>
    <p:sldLayoutId id="2147483669" r:id="rId20"/>
    <p:sldLayoutId id="2147483670" r:id="rId21"/>
    <p:sldLayoutId id="2147483700" r:id="rId22"/>
    <p:sldLayoutId id="2147483659" r:id="rId23"/>
    <p:sldLayoutId id="2147483660" r:id="rId24"/>
    <p:sldLayoutId id="2147483694" r:id="rId25"/>
    <p:sldLayoutId id="2147483677" r:id="rId26"/>
    <p:sldLayoutId id="2147483679" r:id="rId27"/>
    <p:sldLayoutId id="2147483680" r:id="rId28"/>
    <p:sldLayoutId id="2147483666" r:id="rId29"/>
    <p:sldLayoutId id="2147483672" r:id="rId30"/>
    <p:sldLayoutId id="2147483673" r:id="rId31"/>
    <p:sldLayoutId id="2147483674" r:id="rId32"/>
    <p:sldLayoutId id="2147483675" r:id="rId33"/>
    <p:sldLayoutId id="2147483676" r:id="rId34"/>
    <p:sldLayoutId id="2147483701" r:id="rId35"/>
    <p:sldLayoutId id="2147483681" r:id="rId36"/>
    <p:sldLayoutId id="2147483682" r:id="rId37"/>
    <p:sldLayoutId id="2147483702" r:id="rId38"/>
    <p:sldLayoutId id="2147483703" r:id="rId39"/>
    <p:sldLayoutId id="2147483699" r:id="rId40"/>
    <p:sldLayoutId id="2147483695" r:id="rId41"/>
    <p:sldLayoutId id="2147483683" r:id="rId42"/>
    <p:sldLayoutId id="2147483684" r:id="rId43"/>
    <p:sldLayoutId id="2147483698" r:id="rId44"/>
    <p:sldLayoutId id="2147483697" r:id="rId45"/>
    <p:sldLayoutId id="2147483685" r:id="rId46"/>
    <p:sldLayoutId id="2147483686" r:id="rId47"/>
    <p:sldLayoutId id="2147483687" r:id="rId48"/>
    <p:sldLayoutId id="2147483688" r:id="rId49"/>
    <p:sldLayoutId id="2147483689" r:id="rId50"/>
    <p:sldLayoutId id="2147483705" r:id="rId51"/>
    <p:sldLayoutId id="2147483651" r:id="rId52"/>
    <p:sldLayoutId id="2147483652" r:id="rId53"/>
    <p:sldLayoutId id="2147483815" r:id="rId5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l" defTabSz="914491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91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18" indent="-180018" algn="l" defTabSz="914491" rtl="0" eaLnBrk="1" latinLnBrk="0" hangingPunct="1">
        <a:spcBef>
          <a:spcPts val="600"/>
        </a:spcBef>
        <a:buFont typeface="ABBvoiceOffice" panose="020D060302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6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91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37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83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29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74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20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66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218" userDrawn="1">
          <p15:clr>
            <a:srgbClr val="F26B43"/>
          </p15:clr>
        </p15:guide>
        <p15:guide id="2" pos="7469" userDrawn="1">
          <p15:clr>
            <a:srgbClr val="F26B43"/>
          </p15:clr>
        </p15:guide>
        <p15:guide id="3" pos="212" userDrawn="1">
          <p15:clr>
            <a:srgbClr val="F26B43"/>
          </p15:clr>
        </p15:guide>
        <p15:guide id="4" orient="horz" pos="3726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orient="horz" pos="247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rtl="0"/>
            <a:r>
              <a:rPr lang="pt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2499782" y="6298397"/>
            <a:ext cx="8490250" cy="500072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rtl="0">
              <a:defRPr sz="1000">
                <a:solidFill>
                  <a:schemeClr val="accent3"/>
                </a:solidFill>
              </a:defRPr>
            </a:lvl1pPr>
            <a:lvl2pPr marL="0" indent="0">
              <a:defRPr sz="1000">
                <a:solidFill>
                  <a:schemeClr val="accent3"/>
                </a:solidFill>
              </a:defRPr>
            </a:lvl2pPr>
            <a:lvl3pPr marL="0" indent="0">
              <a:defRPr sz="1000">
                <a:solidFill>
                  <a:schemeClr val="accent3"/>
                </a:solidFill>
              </a:defRPr>
            </a:lvl3pPr>
            <a:lvl4pPr marL="0" indent="0">
              <a:defRPr sz="1000">
                <a:solidFill>
                  <a:schemeClr val="accent3"/>
                </a:solidFill>
              </a:defRPr>
            </a:lvl4pPr>
            <a:lvl5pPr marL="0" indent="0">
              <a:defRPr sz="1000">
                <a:solidFill>
                  <a:schemeClr val="accent3"/>
                </a:solidFill>
              </a:defRPr>
            </a:lvl5pPr>
            <a:lvl6pPr marL="0" indent="0">
              <a:defRPr sz="1000">
                <a:solidFill>
                  <a:schemeClr val="accent3"/>
                </a:solidFill>
              </a:defRPr>
            </a:lvl6pPr>
            <a:lvl7pPr marL="0" indent="0">
              <a:defRPr sz="1000">
                <a:solidFill>
                  <a:schemeClr val="accent3"/>
                </a:solidFill>
              </a:defRPr>
            </a:lvl7pPr>
            <a:lvl8pPr marL="0" indent="0">
              <a:defRPr sz="1000">
                <a:solidFill>
                  <a:schemeClr val="accent3"/>
                </a:solidFill>
              </a:defRPr>
            </a:lvl8pPr>
            <a:lvl9pPr marL="0" indent="0">
              <a:defRPr sz="1000">
                <a:solidFill>
                  <a:schemeClr val="accent3"/>
                </a:solidFill>
              </a:defRPr>
            </a:lvl9pPr>
          </a:lstStyle>
          <a:p>
            <a:pPr rtl="0"/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  <a:lvl2pPr marL="0" indent="0">
              <a:defRPr sz="1000">
                <a:solidFill>
                  <a:schemeClr val="accent3"/>
                </a:solidFill>
              </a:defRPr>
            </a:lvl2pPr>
            <a:lvl3pPr marL="0" indent="0">
              <a:defRPr sz="1000">
                <a:solidFill>
                  <a:schemeClr val="accent3"/>
                </a:solidFill>
              </a:defRPr>
            </a:lvl3pPr>
            <a:lvl4pPr marL="0" indent="0">
              <a:defRPr sz="1000">
                <a:solidFill>
                  <a:schemeClr val="accent3"/>
                </a:solidFill>
              </a:defRPr>
            </a:lvl4pPr>
            <a:lvl5pPr marL="0" indent="0">
              <a:defRPr sz="1000">
                <a:solidFill>
                  <a:schemeClr val="accent3"/>
                </a:solidFill>
              </a:defRPr>
            </a:lvl5pPr>
            <a:lvl6pPr marL="0" indent="0">
              <a:defRPr sz="1000">
                <a:solidFill>
                  <a:schemeClr val="accent3"/>
                </a:solidFill>
              </a:defRPr>
            </a:lvl6pPr>
            <a:lvl7pPr marL="0" indent="0">
              <a:defRPr sz="1000">
                <a:solidFill>
                  <a:schemeClr val="accent3"/>
                </a:solidFill>
              </a:defRPr>
            </a:lvl7pPr>
            <a:lvl8pPr marL="0" indent="0">
              <a:defRPr sz="1000">
                <a:solidFill>
                  <a:schemeClr val="accent3"/>
                </a:solidFill>
              </a:defRPr>
            </a:lvl8pPr>
            <a:lvl9pPr marL="0" indent="0">
              <a:defRPr sz="1000">
                <a:solidFill>
                  <a:schemeClr val="accent3"/>
                </a:solidFill>
              </a:defRPr>
            </a:lvl9pPr>
          </a:lstStyle>
          <a:p>
            <a:pPr rtl="0"/>
            <a:r>
              <a:rPr lang="pt"/>
              <a:t>March 4, 2021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33264" y="1931194"/>
            <a:ext cx="11520000" cy="3982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  <a:lvl2pPr marL="0" indent="0">
              <a:defRPr sz="1000">
                <a:solidFill>
                  <a:schemeClr val="accent3"/>
                </a:solidFill>
              </a:defRPr>
            </a:lvl2pPr>
            <a:lvl3pPr marL="0" indent="0">
              <a:defRPr sz="1000">
                <a:solidFill>
                  <a:schemeClr val="accent3"/>
                </a:solidFill>
              </a:defRPr>
            </a:lvl3pPr>
            <a:lvl4pPr marL="0" indent="0">
              <a:defRPr sz="1000">
                <a:solidFill>
                  <a:schemeClr val="accent3"/>
                </a:solidFill>
              </a:defRPr>
            </a:lvl4pPr>
            <a:lvl5pPr marL="0" indent="0">
              <a:defRPr sz="1000">
                <a:solidFill>
                  <a:schemeClr val="accent3"/>
                </a:solidFill>
              </a:defRPr>
            </a:lvl5pPr>
            <a:lvl6pPr marL="0" indent="0">
              <a:defRPr sz="1000">
                <a:solidFill>
                  <a:schemeClr val="accent3"/>
                </a:solidFill>
              </a:defRPr>
            </a:lvl6pPr>
            <a:lvl7pPr marL="0" indent="0">
              <a:defRPr sz="1000">
                <a:solidFill>
                  <a:schemeClr val="accent3"/>
                </a:solidFill>
              </a:defRPr>
            </a:lvl7pPr>
            <a:lvl8pPr marL="0" indent="0">
              <a:defRPr sz="1000">
                <a:solidFill>
                  <a:schemeClr val="accent3"/>
                </a:solidFill>
              </a:defRPr>
            </a:lvl8pPr>
            <a:lvl9pPr marL="0" indent="0">
              <a:defRPr sz="1000">
                <a:solidFill>
                  <a:schemeClr val="accent3"/>
                </a:solidFill>
              </a:defRPr>
            </a:lvl9pPr>
          </a:lstStyle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 bwMode="gray">
          <a:xfrm>
            <a:off x="335577" y="6094413"/>
            <a:ext cx="1152000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68" name="Group 67"/>
          <p:cNvGrpSpPr/>
          <p:nvPr/>
        </p:nvGrpSpPr>
        <p:grpSpPr bwMode="gray">
          <a:xfrm>
            <a:off x="334271" y="6327549"/>
            <a:ext cx="337946" cy="88364"/>
            <a:chOff x="61913" y="5218113"/>
            <a:chExt cx="3138487" cy="820737"/>
          </a:xfrm>
          <a:solidFill>
            <a:schemeClr val="accent3"/>
          </a:solidFill>
        </p:grpSpPr>
        <p:sp>
          <p:nvSpPr>
            <p:cNvPr id="69" name="Freeform 16"/>
            <p:cNvSpPr>
              <a:spLocks noEditPoints="1"/>
            </p:cNvSpPr>
            <p:nvPr userDrawn="1"/>
          </p:nvSpPr>
          <p:spPr bwMode="gray">
            <a:xfrm>
              <a:off x="61913" y="5218113"/>
              <a:ext cx="828675" cy="820737"/>
            </a:xfrm>
            <a:custGeom>
              <a:avLst/>
              <a:gdLst>
                <a:gd name="T0" fmla="*/ 111 w 221"/>
                <a:gd name="T1" fmla="*/ 219 h 219"/>
                <a:gd name="T2" fmla="*/ 53 w 221"/>
                <a:gd name="T3" fmla="*/ 203 h 219"/>
                <a:gd name="T4" fmla="*/ 14 w 221"/>
                <a:gd name="T5" fmla="*/ 163 h 219"/>
                <a:gd name="T6" fmla="*/ 0 w 221"/>
                <a:gd name="T7" fmla="*/ 109 h 219"/>
                <a:gd name="T8" fmla="*/ 15 w 221"/>
                <a:gd name="T9" fmla="*/ 53 h 219"/>
                <a:gd name="T10" fmla="*/ 56 w 221"/>
                <a:gd name="T11" fmla="*/ 14 h 219"/>
                <a:gd name="T12" fmla="*/ 111 w 221"/>
                <a:gd name="T13" fmla="*/ 0 h 219"/>
                <a:gd name="T14" fmla="*/ 168 w 221"/>
                <a:gd name="T15" fmla="*/ 15 h 219"/>
                <a:gd name="T16" fmla="*/ 207 w 221"/>
                <a:gd name="T17" fmla="*/ 55 h 219"/>
                <a:gd name="T18" fmla="*/ 221 w 221"/>
                <a:gd name="T19" fmla="*/ 109 h 219"/>
                <a:gd name="T20" fmla="*/ 206 w 221"/>
                <a:gd name="T21" fmla="*/ 166 h 219"/>
                <a:gd name="T22" fmla="*/ 165 w 221"/>
                <a:gd name="T23" fmla="*/ 205 h 219"/>
                <a:gd name="T24" fmla="*/ 111 w 221"/>
                <a:gd name="T25" fmla="*/ 219 h 219"/>
                <a:gd name="T26" fmla="*/ 111 w 221"/>
                <a:gd name="T27" fmla="*/ 190 h 219"/>
                <a:gd name="T28" fmla="*/ 153 w 221"/>
                <a:gd name="T29" fmla="*/ 180 h 219"/>
                <a:gd name="T30" fmla="*/ 181 w 221"/>
                <a:gd name="T31" fmla="*/ 151 h 219"/>
                <a:gd name="T32" fmla="*/ 191 w 221"/>
                <a:gd name="T33" fmla="*/ 109 h 219"/>
                <a:gd name="T34" fmla="*/ 180 w 221"/>
                <a:gd name="T35" fmla="*/ 67 h 219"/>
                <a:gd name="T36" fmla="*/ 151 w 221"/>
                <a:gd name="T37" fmla="*/ 38 h 219"/>
                <a:gd name="T38" fmla="*/ 111 w 221"/>
                <a:gd name="T39" fmla="*/ 28 h 219"/>
                <a:gd name="T40" fmla="*/ 68 w 221"/>
                <a:gd name="T41" fmla="*/ 39 h 219"/>
                <a:gd name="T42" fmla="*/ 40 w 221"/>
                <a:gd name="T43" fmla="*/ 68 h 219"/>
                <a:gd name="T44" fmla="*/ 31 w 221"/>
                <a:gd name="T45" fmla="*/ 109 h 219"/>
                <a:gd name="T46" fmla="*/ 41 w 221"/>
                <a:gd name="T47" fmla="*/ 152 h 219"/>
                <a:gd name="T48" fmla="*/ 70 w 221"/>
                <a:gd name="T49" fmla="*/ 180 h 219"/>
                <a:gd name="T50" fmla="*/ 111 w 221"/>
                <a:gd name="T51" fmla="*/ 190 h 219"/>
                <a:gd name="T52" fmla="*/ 115 w 221"/>
                <a:gd name="T53" fmla="*/ 50 h 219"/>
                <a:gd name="T54" fmla="*/ 139 w 221"/>
                <a:gd name="T55" fmla="*/ 54 h 219"/>
                <a:gd name="T56" fmla="*/ 156 w 221"/>
                <a:gd name="T57" fmla="*/ 63 h 219"/>
                <a:gd name="T58" fmla="*/ 145 w 221"/>
                <a:gd name="T59" fmla="*/ 85 h 219"/>
                <a:gd name="T60" fmla="*/ 117 w 221"/>
                <a:gd name="T61" fmla="*/ 76 h 219"/>
                <a:gd name="T62" fmla="*/ 93 w 221"/>
                <a:gd name="T63" fmla="*/ 85 h 219"/>
                <a:gd name="T64" fmla="*/ 84 w 221"/>
                <a:gd name="T65" fmla="*/ 110 h 219"/>
                <a:gd name="T66" fmla="*/ 93 w 221"/>
                <a:gd name="T67" fmla="*/ 134 h 219"/>
                <a:gd name="T68" fmla="*/ 117 w 221"/>
                <a:gd name="T69" fmla="*/ 143 h 219"/>
                <a:gd name="T70" fmla="*/ 146 w 221"/>
                <a:gd name="T71" fmla="*/ 132 h 219"/>
                <a:gd name="T72" fmla="*/ 158 w 221"/>
                <a:gd name="T73" fmla="*/ 153 h 219"/>
                <a:gd name="T74" fmla="*/ 140 w 221"/>
                <a:gd name="T75" fmla="*/ 165 h 219"/>
                <a:gd name="T76" fmla="*/ 115 w 221"/>
                <a:gd name="T77" fmla="*/ 169 h 219"/>
                <a:gd name="T78" fmla="*/ 71 w 221"/>
                <a:gd name="T79" fmla="*/ 153 h 219"/>
                <a:gd name="T80" fmla="*/ 54 w 221"/>
                <a:gd name="T81" fmla="*/ 111 h 219"/>
                <a:gd name="T82" fmla="*/ 71 w 221"/>
                <a:gd name="T83" fmla="*/ 67 h 219"/>
                <a:gd name="T84" fmla="*/ 115 w 221"/>
                <a:gd name="T85" fmla="*/ 5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1" h="219">
                  <a:moveTo>
                    <a:pt x="111" y="219"/>
                  </a:moveTo>
                  <a:cubicBezTo>
                    <a:pt x="89" y="219"/>
                    <a:pt x="70" y="214"/>
                    <a:pt x="53" y="203"/>
                  </a:cubicBezTo>
                  <a:cubicBezTo>
                    <a:pt x="36" y="193"/>
                    <a:pt x="23" y="180"/>
                    <a:pt x="14" y="163"/>
                  </a:cubicBezTo>
                  <a:cubicBezTo>
                    <a:pt x="4" y="147"/>
                    <a:pt x="0" y="129"/>
                    <a:pt x="0" y="109"/>
                  </a:cubicBezTo>
                  <a:cubicBezTo>
                    <a:pt x="0" y="88"/>
                    <a:pt x="5" y="70"/>
                    <a:pt x="15" y="53"/>
                  </a:cubicBezTo>
                  <a:cubicBezTo>
                    <a:pt x="25" y="36"/>
                    <a:pt x="39" y="23"/>
                    <a:pt x="56" y="14"/>
                  </a:cubicBezTo>
                  <a:cubicBezTo>
                    <a:pt x="73" y="5"/>
                    <a:pt x="91" y="0"/>
                    <a:pt x="111" y="0"/>
                  </a:cubicBezTo>
                  <a:cubicBezTo>
                    <a:pt x="132" y="0"/>
                    <a:pt x="151" y="5"/>
                    <a:pt x="168" y="15"/>
                  </a:cubicBezTo>
                  <a:cubicBezTo>
                    <a:pt x="185" y="26"/>
                    <a:pt x="198" y="39"/>
                    <a:pt x="207" y="55"/>
                  </a:cubicBezTo>
                  <a:cubicBezTo>
                    <a:pt x="217" y="72"/>
                    <a:pt x="221" y="90"/>
                    <a:pt x="221" y="109"/>
                  </a:cubicBezTo>
                  <a:cubicBezTo>
                    <a:pt x="221" y="130"/>
                    <a:pt x="216" y="149"/>
                    <a:pt x="206" y="166"/>
                  </a:cubicBezTo>
                  <a:cubicBezTo>
                    <a:pt x="196" y="183"/>
                    <a:pt x="182" y="196"/>
                    <a:pt x="165" y="205"/>
                  </a:cubicBezTo>
                  <a:cubicBezTo>
                    <a:pt x="149" y="214"/>
                    <a:pt x="130" y="219"/>
                    <a:pt x="111" y="219"/>
                  </a:cubicBezTo>
                  <a:close/>
                  <a:moveTo>
                    <a:pt x="111" y="190"/>
                  </a:moveTo>
                  <a:cubicBezTo>
                    <a:pt x="127" y="190"/>
                    <a:pt x="141" y="187"/>
                    <a:pt x="153" y="180"/>
                  </a:cubicBezTo>
                  <a:cubicBezTo>
                    <a:pt x="165" y="173"/>
                    <a:pt x="174" y="163"/>
                    <a:pt x="181" y="151"/>
                  </a:cubicBezTo>
                  <a:cubicBezTo>
                    <a:pt x="187" y="139"/>
                    <a:pt x="191" y="125"/>
                    <a:pt x="191" y="109"/>
                  </a:cubicBezTo>
                  <a:cubicBezTo>
                    <a:pt x="191" y="93"/>
                    <a:pt x="187" y="79"/>
                    <a:pt x="180" y="67"/>
                  </a:cubicBezTo>
                  <a:cubicBezTo>
                    <a:pt x="173" y="55"/>
                    <a:pt x="163" y="45"/>
                    <a:pt x="151" y="38"/>
                  </a:cubicBezTo>
                  <a:cubicBezTo>
                    <a:pt x="139" y="32"/>
                    <a:pt x="126" y="28"/>
                    <a:pt x="111" y="28"/>
                  </a:cubicBezTo>
                  <a:cubicBezTo>
                    <a:pt x="95" y="28"/>
                    <a:pt x="81" y="32"/>
                    <a:pt x="68" y="39"/>
                  </a:cubicBezTo>
                  <a:cubicBezTo>
                    <a:pt x="56" y="46"/>
                    <a:pt x="47" y="56"/>
                    <a:pt x="40" y="68"/>
                  </a:cubicBezTo>
                  <a:cubicBezTo>
                    <a:pt x="34" y="80"/>
                    <a:pt x="31" y="94"/>
                    <a:pt x="31" y="109"/>
                  </a:cubicBezTo>
                  <a:cubicBezTo>
                    <a:pt x="31" y="126"/>
                    <a:pt x="34" y="140"/>
                    <a:pt x="41" y="152"/>
                  </a:cubicBezTo>
                  <a:cubicBezTo>
                    <a:pt x="48" y="164"/>
                    <a:pt x="58" y="174"/>
                    <a:pt x="70" y="180"/>
                  </a:cubicBezTo>
                  <a:cubicBezTo>
                    <a:pt x="82" y="187"/>
                    <a:pt x="95" y="190"/>
                    <a:pt x="111" y="190"/>
                  </a:cubicBezTo>
                  <a:close/>
                  <a:moveTo>
                    <a:pt x="115" y="50"/>
                  </a:moveTo>
                  <a:cubicBezTo>
                    <a:pt x="124" y="50"/>
                    <a:pt x="131" y="51"/>
                    <a:pt x="139" y="54"/>
                  </a:cubicBezTo>
                  <a:cubicBezTo>
                    <a:pt x="146" y="56"/>
                    <a:pt x="152" y="59"/>
                    <a:pt x="156" y="63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37" y="79"/>
                    <a:pt x="128" y="76"/>
                    <a:pt x="117" y="76"/>
                  </a:cubicBezTo>
                  <a:cubicBezTo>
                    <a:pt x="107" y="76"/>
                    <a:pt x="99" y="79"/>
                    <a:pt x="93" y="85"/>
                  </a:cubicBezTo>
                  <a:cubicBezTo>
                    <a:pt x="87" y="91"/>
                    <a:pt x="84" y="100"/>
                    <a:pt x="84" y="110"/>
                  </a:cubicBezTo>
                  <a:cubicBezTo>
                    <a:pt x="84" y="120"/>
                    <a:pt x="87" y="128"/>
                    <a:pt x="93" y="134"/>
                  </a:cubicBezTo>
                  <a:cubicBezTo>
                    <a:pt x="99" y="140"/>
                    <a:pt x="107" y="143"/>
                    <a:pt x="117" y="143"/>
                  </a:cubicBezTo>
                  <a:cubicBezTo>
                    <a:pt x="129" y="143"/>
                    <a:pt x="138" y="139"/>
                    <a:pt x="146" y="132"/>
                  </a:cubicBezTo>
                  <a:cubicBezTo>
                    <a:pt x="158" y="153"/>
                    <a:pt x="158" y="153"/>
                    <a:pt x="158" y="153"/>
                  </a:cubicBezTo>
                  <a:cubicBezTo>
                    <a:pt x="153" y="158"/>
                    <a:pt x="147" y="162"/>
                    <a:pt x="140" y="165"/>
                  </a:cubicBezTo>
                  <a:cubicBezTo>
                    <a:pt x="132" y="168"/>
                    <a:pt x="124" y="169"/>
                    <a:pt x="115" y="169"/>
                  </a:cubicBezTo>
                  <a:cubicBezTo>
                    <a:pt x="97" y="169"/>
                    <a:pt x="82" y="164"/>
                    <a:pt x="71" y="153"/>
                  </a:cubicBezTo>
                  <a:cubicBezTo>
                    <a:pt x="60" y="142"/>
                    <a:pt x="54" y="128"/>
                    <a:pt x="54" y="111"/>
                  </a:cubicBezTo>
                  <a:cubicBezTo>
                    <a:pt x="54" y="93"/>
                    <a:pt x="60" y="78"/>
                    <a:pt x="71" y="67"/>
                  </a:cubicBezTo>
                  <a:cubicBezTo>
                    <a:pt x="82" y="56"/>
                    <a:pt x="97" y="50"/>
                    <a:pt x="11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 dirty="0"/>
            </a:p>
          </p:txBody>
        </p:sp>
        <p:sp>
          <p:nvSpPr>
            <p:cNvPr id="70" name="Freeform 17"/>
            <p:cNvSpPr>
              <a:spLocks noEditPoints="1"/>
            </p:cNvSpPr>
            <p:nvPr userDrawn="1"/>
          </p:nvSpPr>
          <p:spPr bwMode="gray">
            <a:xfrm>
              <a:off x="957263" y="5237163"/>
              <a:ext cx="773112" cy="782637"/>
            </a:xfrm>
            <a:custGeom>
              <a:avLst/>
              <a:gdLst>
                <a:gd name="T0" fmla="*/ 305 w 487"/>
                <a:gd name="T1" fmla="*/ 0 h 493"/>
                <a:gd name="T2" fmla="*/ 487 w 487"/>
                <a:gd name="T3" fmla="*/ 493 h 493"/>
                <a:gd name="T4" fmla="*/ 369 w 487"/>
                <a:gd name="T5" fmla="*/ 493 h 493"/>
                <a:gd name="T6" fmla="*/ 336 w 487"/>
                <a:gd name="T7" fmla="*/ 390 h 493"/>
                <a:gd name="T8" fmla="*/ 151 w 487"/>
                <a:gd name="T9" fmla="*/ 390 h 493"/>
                <a:gd name="T10" fmla="*/ 118 w 487"/>
                <a:gd name="T11" fmla="*/ 493 h 493"/>
                <a:gd name="T12" fmla="*/ 0 w 487"/>
                <a:gd name="T13" fmla="*/ 493 h 493"/>
                <a:gd name="T14" fmla="*/ 184 w 487"/>
                <a:gd name="T15" fmla="*/ 0 h 493"/>
                <a:gd name="T16" fmla="*/ 305 w 487"/>
                <a:gd name="T17" fmla="*/ 0 h 493"/>
                <a:gd name="T18" fmla="*/ 180 w 487"/>
                <a:gd name="T19" fmla="*/ 300 h 493"/>
                <a:gd name="T20" fmla="*/ 307 w 487"/>
                <a:gd name="T21" fmla="*/ 300 h 493"/>
                <a:gd name="T22" fmla="*/ 243 w 487"/>
                <a:gd name="T23" fmla="*/ 104 h 493"/>
                <a:gd name="T24" fmla="*/ 180 w 487"/>
                <a:gd name="T25" fmla="*/ 300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7" h="493">
                  <a:moveTo>
                    <a:pt x="305" y="0"/>
                  </a:moveTo>
                  <a:lnTo>
                    <a:pt x="487" y="493"/>
                  </a:lnTo>
                  <a:lnTo>
                    <a:pt x="369" y="493"/>
                  </a:lnTo>
                  <a:lnTo>
                    <a:pt x="336" y="390"/>
                  </a:lnTo>
                  <a:lnTo>
                    <a:pt x="151" y="390"/>
                  </a:lnTo>
                  <a:lnTo>
                    <a:pt x="118" y="493"/>
                  </a:lnTo>
                  <a:lnTo>
                    <a:pt x="0" y="493"/>
                  </a:lnTo>
                  <a:lnTo>
                    <a:pt x="184" y="0"/>
                  </a:lnTo>
                  <a:lnTo>
                    <a:pt x="305" y="0"/>
                  </a:lnTo>
                  <a:close/>
                  <a:moveTo>
                    <a:pt x="180" y="300"/>
                  </a:moveTo>
                  <a:lnTo>
                    <a:pt x="307" y="300"/>
                  </a:lnTo>
                  <a:lnTo>
                    <a:pt x="243" y="104"/>
                  </a:lnTo>
                  <a:lnTo>
                    <a:pt x="18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 dirty="0"/>
            </a:p>
          </p:txBody>
        </p:sp>
        <p:sp>
          <p:nvSpPr>
            <p:cNvPr id="71" name="Freeform 18"/>
            <p:cNvSpPr>
              <a:spLocks noEditPoints="1"/>
            </p:cNvSpPr>
            <p:nvPr userDrawn="1"/>
          </p:nvSpPr>
          <p:spPr bwMode="gray">
            <a:xfrm>
              <a:off x="1819275" y="5237163"/>
              <a:ext cx="622300" cy="782637"/>
            </a:xfrm>
            <a:custGeom>
              <a:avLst/>
              <a:gdLst>
                <a:gd name="T0" fmla="*/ 0 w 166"/>
                <a:gd name="T1" fmla="*/ 0 h 209"/>
                <a:gd name="T2" fmla="*/ 82 w 166"/>
                <a:gd name="T3" fmla="*/ 0 h 209"/>
                <a:gd name="T4" fmla="*/ 132 w 166"/>
                <a:gd name="T5" fmla="*/ 15 h 209"/>
                <a:gd name="T6" fmla="*/ 150 w 166"/>
                <a:gd name="T7" fmla="*/ 53 h 209"/>
                <a:gd name="T8" fmla="*/ 128 w 166"/>
                <a:gd name="T9" fmla="*/ 94 h 209"/>
                <a:gd name="T10" fmla="*/ 166 w 166"/>
                <a:gd name="T11" fmla="*/ 146 h 209"/>
                <a:gd name="T12" fmla="*/ 146 w 166"/>
                <a:gd name="T13" fmla="*/ 192 h 209"/>
                <a:gd name="T14" fmla="*/ 86 w 166"/>
                <a:gd name="T15" fmla="*/ 209 h 209"/>
                <a:gd name="T16" fmla="*/ 0 w 166"/>
                <a:gd name="T17" fmla="*/ 209 h 209"/>
                <a:gd name="T18" fmla="*/ 0 w 166"/>
                <a:gd name="T19" fmla="*/ 0 h 209"/>
                <a:gd name="T20" fmla="*/ 78 w 166"/>
                <a:gd name="T21" fmla="*/ 81 h 209"/>
                <a:gd name="T22" fmla="*/ 99 w 166"/>
                <a:gd name="T23" fmla="*/ 75 h 209"/>
                <a:gd name="T24" fmla="*/ 106 w 166"/>
                <a:gd name="T25" fmla="*/ 59 h 209"/>
                <a:gd name="T26" fmla="*/ 99 w 166"/>
                <a:gd name="T27" fmla="*/ 42 h 209"/>
                <a:gd name="T28" fmla="*/ 79 w 166"/>
                <a:gd name="T29" fmla="*/ 37 h 209"/>
                <a:gd name="T30" fmla="*/ 46 w 166"/>
                <a:gd name="T31" fmla="*/ 37 h 209"/>
                <a:gd name="T32" fmla="*/ 46 w 166"/>
                <a:gd name="T33" fmla="*/ 81 h 209"/>
                <a:gd name="T34" fmla="*/ 78 w 166"/>
                <a:gd name="T35" fmla="*/ 81 h 209"/>
                <a:gd name="T36" fmla="*/ 84 w 166"/>
                <a:gd name="T37" fmla="*/ 172 h 209"/>
                <a:gd name="T38" fmla="*/ 111 w 166"/>
                <a:gd name="T39" fmla="*/ 165 h 209"/>
                <a:gd name="T40" fmla="*/ 120 w 166"/>
                <a:gd name="T41" fmla="*/ 145 h 209"/>
                <a:gd name="T42" fmla="*/ 111 w 166"/>
                <a:gd name="T43" fmla="*/ 124 h 209"/>
                <a:gd name="T44" fmla="*/ 85 w 166"/>
                <a:gd name="T45" fmla="*/ 117 h 209"/>
                <a:gd name="T46" fmla="*/ 46 w 166"/>
                <a:gd name="T47" fmla="*/ 117 h 209"/>
                <a:gd name="T48" fmla="*/ 46 w 166"/>
                <a:gd name="T49" fmla="*/ 172 h 209"/>
                <a:gd name="T50" fmla="*/ 84 w 166"/>
                <a:gd name="T51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209">
                  <a:moveTo>
                    <a:pt x="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103" y="0"/>
                    <a:pt x="119" y="5"/>
                    <a:pt x="132" y="15"/>
                  </a:cubicBezTo>
                  <a:cubicBezTo>
                    <a:pt x="144" y="24"/>
                    <a:pt x="150" y="37"/>
                    <a:pt x="150" y="53"/>
                  </a:cubicBezTo>
                  <a:cubicBezTo>
                    <a:pt x="150" y="71"/>
                    <a:pt x="143" y="84"/>
                    <a:pt x="128" y="94"/>
                  </a:cubicBezTo>
                  <a:cubicBezTo>
                    <a:pt x="154" y="103"/>
                    <a:pt x="166" y="120"/>
                    <a:pt x="166" y="146"/>
                  </a:cubicBezTo>
                  <a:cubicBezTo>
                    <a:pt x="166" y="166"/>
                    <a:pt x="160" y="182"/>
                    <a:pt x="146" y="192"/>
                  </a:cubicBezTo>
                  <a:cubicBezTo>
                    <a:pt x="132" y="203"/>
                    <a:pt x="112" y="209"/>
                    <a:pt x="86" y="209"/>
                  </a:cubicBezTo>
                  <a:cubicBezTo>
                    <a:pt x="0" y="209"/>
                    <a:pt x="0" y="209"/>
                    <a:pt x="0" y="209"/>
                  </a:cubicBezTo>
                  <a:lnTo>
                    <a:pt x="0" y="0"/>
                  </a:lnTo>
                  <a:close/>
                  <a:moveTo>
                    <a:pt x="78" y="81"/>
                  </a:moveTo>
                  <a:cubicBezTo>
                    <a:pt x="87" y="81"/>
                    <a:pt x="94" y="79"/>
                    <a:pt x="99" y="75"/>
                  </a:cubicBezTo>
                  <a:cubicBezTo>
                    <a:pt x="104" y="71"/>
                    <a:pt x="106" y="66"/>
                    <a:pt x="106" y="59"/>
                  </a:cubicBezTo>
                  <a:cubicBezTo>
                    <a:pt x="106" y="52"/>
                    <a:pt x="104" y="46"/>
                    <a:pt x="99" y="42"/>
                  </a:cubicBezTo>
                  <a:cubicBezTo>
                    <a:pt x="94" y="38"/>
                    <a:pt x="87" y="37"/>
                    <a:pt x="79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81"/>
                    <a:pt x="46" y="81"/>
                    <a:pt x="46" y="81"/>
                  </a:cubicBezTo>
                  <a:lnTo>
                    <a:pt x="78" y="81"/>
                  </a:lnTo>
                  <a:close/>
                  <a:moveTo>
                    <a:pt x="84" y="172"/>
                  </a:moveTo>
                  <a:cubicBezTo>
                    <a:pt x="96" y="172"/>
                    <a:pt x="105" y="169"/>
                    <a:pt x="111" y="165"/>
                  </a:cubicBezTo>
                  <a:cubicBezTo>
                    <a:pt x="117" y="160"/>
                    <a:pt x="120" y="154"/>
                    <a:pt x="120" y="145"/>
                  </a:cubicBezTo>
                  <a:cubicBezTo>
                    <a:pt x="120" y="136"/>
                    <a:pt x="117" y="129"/>
                    <a:pt x="111" y="124"/>
                  </a:cubicBezTo>
                  <a:cubicBezTo>
                    <a:pt x="105" y="119"/>
                    <a:pt x="96" y="117"/>
                    <a:pt x="85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72"/>
                    <a:pt x="46" y="172"/>
                    <a:pt x="46" y="172"/>
                  </a:cubicBezTo>
                  <a:lnTo>
                    <a:pt x="8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 dirty="0"/>
            </a:p>
          </p:txBody>
        </p:sp>
        <p:sp>
          <p:nvSpPr>
            <p:cNvPr id="72" name="Freeform 19"/>
            <p:cNvSpPr>
              <a:spLocks noEditPoints="1"/>
            </p:cNvSpPr>
            <p:nvPr userDrawn="1"/>
          </p:nvSpPr>
          <p:spPr bwMode="gray">
            <a:xfrm>
              <a:off x="2573338" y="5237163"/>
              <a:ext cx="627062" cy="782637"/>
            </a:xfrm>
            <a:custGeom>
              <a:avLst/>
              <a:gdLst>
                <a:gd name="T0" fmla="*/ 0 w 167"/>
                <a:gd name="T1" fmla="*/ 0 h 209"/>
                <a:gd name="T2" fmla="*/ 82 w 167"/>
                <a:gd name="T3" fmla="*/ 0 h 209"/>
                <a:gd name="T4" fmla="*/ 132 w 167"/>
                <a:gd name="T5" fmla="*/ 15 h 209"/>
                <a:gd name="T6" fmla="*/ 150 w 167"/>
                <a:gd name="T7" fmla="*/ 53 h 209"/>
                <a:gd name="T8" fmla="*/ 128 w 167"/>
                <a:gd name="T9" fmla="*/ 94 h 209"/>
                <a:gd name="T10" fmla="*/ 167 w 167"/>
                <a:gd name="T11" fmla="*/ 146 h 209"/>
                <a:gd name="T12" fmla="*/ 146 w 167"/>
                <a:gd name="T13" fmla="*/ 192 h 209"/>
                <a:gd name="T14" fmla="*/ 86 w 167"/>
                <a:gd name="T15" fmla="*/ 209 h 209"/>
                <a:gd name="T16" fmla="*/ 0 w 167"/>
                <a:gd name="T17" fmla="*/ 209 h 209"/>
                <a:gd name="T18" fmla="*/ 0 w 167"/>
                <a:gd name="T19" fmla="*/ 0 h 209"/>
                <a:gd name="T20" fmla="*/ 79 w 167"/>
                <a:gd name="T21" fmla="*/ 81 h 209"/>
                <a:gd name="T22" fmla="*/ 99 w 167"/>
                <a:gd name="T23" fmla="*/ 75 h 209"/>
                <a:gd name="T24" fmla="*/ 106 w 167"/>
                <a:gd name="T25" fmla="*/ 59 h 209"/>
                <a:gd name="T26" fmla="*/ 99 w 167"/>
                <a:gd name="T27" fmla="*/ 42 h 209"/>
                <a:gd name="T28" fmla="*/ 79 w 167"/>
                <a:gd name="T29" fmla="*/ 37 h 209"/>
                <a:gd name="T30" fmla="*/ 46 w 167"/>
                <a:gd name="T31" fmla="*/ 37 h 209"/>
                <a:gd name="T32" fmla="*/ 46 w 167"/>
                <a:gd name="T33" fmla="*/ 81 h 209"/>
                <a:gd name="T34" fmla="*/ 79 w 167"/>
                <a:gd name="T35" fmla="*/ 81 h 209"/>
                <a:gd name="T36" fmla="*/ 84 w 167"/>
                <a:gd name="T37" fmla="*/ 172 h 209"/>
                <a:gd name="T38" fmla="*/ 111 w 167"/>
                <a:gd name="T39" fmla="*/ 165 h 209"/>
                <a:gd name="T40" fmla="*/ 121 w 167"/>
                <a:gd name="T41" fmla="*/ 145 h 209"/>
                <a:gd name="T42" fmla="*/ 111 w 167"/>
                <a:gd name="T43" fmla="*/ 124 h 209"/>
                <a:gd name="T44" fmla="*/ 85 w 167"/>
                <a:gd name="T45" fmla="*/ 117 h 209"/>
                <a:gd name="T46" fmla="*/ 46 w 167"/>
                <a:gd name="T47" fmla="*/ 117 h 209"/>
                <a:gd name="T48" fmla="*/ 46 w 167"/>
                <a:gd name="T49" fmla="*/ 172 h 209"/>
                <a:gd name="T50" fmla="*/ 84 w 167"/>
                <a:gd name="T51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9">
                  <a:moveTo>
                    <a:pt x="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103" y="0"/>
                    <a:pt x="120" y="5"/>
                    <a:pt x="132" y="15"/>
                  </a:cubicBezTo>
                  <a:cubicBezTo>
                    <a:pt x="144" y="24"/>
                    <a:pt x="150" y="37"/>
                    <a:pt x="150" y="53"/>
                  </a:cubicBezTo>
                  <a:cubicBezTo>
                    <a:pt x="150" y="71"/>
                    <a:pt x="143" y="84"/>
                    <a:pt x="128" y="94"/>
                  </a:cubicBezTo>
                  <a:cubicBezTo>
                    <a:pt x="154" y="103"/>
                    <a:pt x="167" y="120"/>
                    <a:pt x="167" y="146"/>
                  </a:cubicBezTo>
                  <a:cubicBezTo>
                    <a:pt x="167" y="166"/>
                    <a:pt x="160" y="182"/>
                    <a:pt x="146" y="192"/>
                  </a:cubicBezTo>
                  <a:cubicBezTo>
                    <a:pt x="132" y="203"/>
                    <a:pt x="112" y="209"/>
                    <a:pt x="86" y="209"/>
                  </a:cubicBezTo>
                  <a:cubicBezTo>
                    <a:pt x="0" y="209"/>
                    <a:pt x="0" y="209"/>
                    <a:pt x="0" y="209"/>
                  </a:cubicBezTo>
                  <a:lnTo>
                    <a:pt x="0" y="0"/>
                  </a:lnTo>
                  <a:close/>
                  <a:moveTo>
                    <a:pt x="79" y="81"/>
                  </a:moveTo>
                  <a:cubicBezTo>
                    <a:pt x="87" y="81"/>
                    <a:pt x="94" y="79"/>
                    <a:pt x="99" y="75"/>
                  </a:cubicBezTo>
                  <a:cubicBezTo>
                    <a:pt x="104" y="71"/>
                    <a:pt x="106" y="66"/>
                    <a:pt x="106" y="59"/>
                  </a:cubicBezTo>
                  <a:cubicBezTo>
                    <a:pt x="106" y="52"/>
                    <a:pt x="104" y="46"/>
                    <a:pt x="99" y="42"/>
                  </a:cubicBezTo>
                  <a:cubicBezTo>
                    <a:pt x="94" y="38"/>
                    <a:pt x="88" y="37"/>
                    <a:pt x="79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81"/>
                    <a:pt x="46" y="81"/>
                    <a:pt x="46" y="81"/>
                  </a:cubicBezTo>
                  <a:lnTo>
                    <a:pt x="79" y="81"/>
                  </a:lnTo>
                  <a:close/>
                  <a:moveTo>
                    <a:pt x="84" y="172"/>
                  </a:moveTo>
                  <a:cubicBezTo>
                    <a:pt x="96" y="172"/>
                    <a:pt x="105" y="169"/>
                    <a:pt x="111" y="165"/>
                  </a:cubicBezTo>
                  <a:cubicBezTo>
                    <a:pt x="118" y="160"/>
                    <a:pt x="121" y="154"/>
                    <a:pt x="121" y="145"/>
                  </a:cubicBezTo>
                  <a:cubicBezTo>
                    <a:pt x="121" y="136"/>
                    <a:pt x="117" y="129"/>
                    <a:pt x="111" y="124"/>
                  </a:cubicBezTo>
                  <a:cubicBezTo>
                    <a:pt x="105" y="119"/>
                    <a:pt x="96" y="117"/>
                    <a:pt x="85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72"/>
                    <a:pt x="46" y="172"/>
                    <a:pt x="46" y="172"/>
                  </a:cubicBezTo>
                  <a:lnTo>
                    <a:pt x="8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 dirty="0"/>
            </a:p>
          </p:txBody>
        </p:sp>
      </p:grpSp>
      <p:cxnSp>
        <p:nvCxnSpPr>
          <p:cNvPr id="73" name="Straight Connector 72"/>
          <p:cNvCxnSpPr/>
          <p:nvPr/>
        </p:nvCxnSpPr>
        <p:spPr bwMode="gray">
          <a:xfrm>
            <a:off x="1692854" y="6472543"/>
            <a:ext cx="0" cy="132461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 bwMode="gray">
          <a:xfrm>
            <a:off x="242214" y="426352"/>
            <a:ext cx="55097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2400" b="1">
                <a:solidFill>
                  <a:schemeClr val="bg2"/>
                </a:solidFill>
              </a:rPr>
              <a:t>—</a:t>
            </a:r>
            <a:endParaRPr lang="en-US" sz="2400" b="1" dirty="0">
              <a:solidFill>
                <a:schemeClr val="bg2"/>
              </a:solidFill>
            </a:endParaRPr>
          </a:p>
        </p:txBody>
      </p:sp>
      <p:pic>
        <p:nvPicPr>
          <p:cNvPr id="16" name="Picture 19"/>
          <p:cNvPicPr>
            <a:picLocks noChangeAspect="1" noChangeArrowheads="1"/>
          </p:cNvPicPr>
          <p:nvPr userDrawn="1"/>
        </p:nvPicPr>
        <p:blipFill>
          <a:blip r:embed="rId5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45664" y="6393976"/>
            <a:ext cx="507600" cy="194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8117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21" r:id="rId15"/>
    <p:sldLayoutId id="2147483722" r:id="rId16"/>
    <p:sldLayoutId id="2147483723" r:id="rId17"/>
    <p:sldLayoutId id="2147483724" r:id="rId18"/>
    <p:sldLayoutId id="2147483725" r:id="rId19"/>
    <p:sldLayoutId id="2147483726" r:id="rId20"/>
    <p:sldLayoutId id="2147483727" r:id="rId21"/>
    <p:sldLayoutId id="2147483728" r:id="rId22"/>
    <p:sldLayoutId id="2147483729" r:id="rId23"/>
    <p:sldLayoutId id="2147483730" r:id="rId24"/>
    <p:sldLayoutId id="2147483731" r:id="rId25"/>
    <p:sldLayoutId id="2147483732" r:id="rId26"/>
    <p:sldLayoutId id="2147483733" r:id="rId27"/>
    <p:sldLayoutId id="2147483734" r:id="rId28"/>
    <p:sldLayoutId id="2147483735" r:id="rId29"/>
    <p:sldLayoutId id="2147483736" r:id="rId30"/>
    <p:sldLayoutId id="2147483737" r:id="rId31"/>
    <p:sldLayoutId id="2147483738" r:id="rId32"/>
    <p:sldLayoutId id="2147483739" r:id="rId33"/>
    <p:sldLayoutId id="2147483740" r:id="rId34"/>
    <p:sldLayoutId id="2147483741" r:id="rId35"/>
    <p:sldLayoutId id="2147483742" r:id="rId36"/>
    <p:sldLayoutId id="2147483743" r:id="rId37"/>
    <p:sldLayoutId id="2147483744" r:id="rId38"/>
    <p:sldLayoutId id="2147483745" r:id="rId39"/>
    <p:sldLayoutId id="2147483746" r:id="rId40"/>
    <p:sldLayoutId id="2147483747" r:id="rId41"/>
    <p:sldLayoutId id="2147483748" r:id="rId42"/>
    <p:sldLayoutId id="2147483749" r:id="rId43"/>
    <p:sldLayoutId id="2147483750" r:id="rId44"/>
    <p:sldLayoutId id="2147483751" r:id="rId45"/>
    <p:sldLayoutId id="2147483752" r:id="rId46"/>
    <p:sldLayoutId id="2147483753" r:id="rId47"/>
    <p:sldLayoutId id="2147483754" r:id="rId48"/>
    <p:sldLayoutId id="2147483755" r:id="rId49"/>
    <p:sldLayoutId id="2147483756" r:id="rId50"/>
    <p:sldLayoutId id="2147483757" r:id="rId51"/>
    <p:sldLayoutId id="2147483758" r:id="rId52"/>
    <p:sldLayoutId id="2147483759" r:id="rId53"/>
    <p:sldLayoutId id="2147483760" r:id="rId5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l" defTabSz="914491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91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18" indent="-180018" algn="l" defTabSz="914491" rtl="0" eaLnBrk="1" latinLnBrk="0" hangingPunct="1">
        <a:spcBef>
          <a:spcPts val="600"/>
        </a:spcBef>
        <a:buFont typeface="ABBvoiceOffice" panose="020D060302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6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91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37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83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29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74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20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66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218">
          <p15:clr>
            <a:srgbClr val="F26B43"/>
          </p15:clr>
        </p15:guide>
        <p15:guide id="2" pos="7469">
          <p15:clr>
            <a:srgbClr val="F26B43"/>
          </p15:clr>
        </p15:guide>
        <p15:guide id="3" pos="212">
          <p15:clr>
            <a:srgbClr val="F26B43"/>
          </p15:clr>
        </p15:guide>
        <p15:guide id="4" orient="horz" pos="3726">
          <p15:clr>
            <a:srgbClr val="F26B43"/>
          </p15:clr>
        </p15:guide>
        <p15:guide id="5" pos="3840">
          <p15:clr>
            <a:srgbClr val="F26B43"/>
          </p15:clr>
        </p15:guide>
        <p15:guide id="6" orient="horz" pos="247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B87978F-1827-4B1B-A7A3-19B45E959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201400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" name="think-cell Slide" r:id="rId58" imgW="347" imgH="348" progId="TCLayout.ActiveDocument.1">
                  <p:embed/>
                </p:oleObj>
              </mc:Choice>
              <mc:Fallback>
                <p:oleObj name="think-cell Slide" r:id="rId58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4B87978F-1827-4B1B-A7A3-19B45E959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43806CD7-D506-4445-899C-1E46DBEE39F2}"/>
              </a:ext>
            </a:extLst>
          </p:cNvPr>
          <p:cNvSpPr/>
          <p:nvPr userDrawn="1">
            <p:custDataLst>
              <p:tags r:id="rId57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rtl="0"/>
            <a:r>
              <a:rPr lang="pt"/>
              <a:t>Click to edit Master 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2499782" y="6298397"/>
            <a:ext cx="8490250" cy="500072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 rtl="0">
              <a:defRPr sz="1000">
                <a:solidFill>
                  <a:schemeClr val="accent3"/>
                </a:solidFill>
              </a:defRPr>
            </a:lvl1pPr>
            <a:lvl2pPr marL="0" indent="0">
              <a:defRPr sz="1000">
                <a:solidFill>
                  <a:schemeClr val="accent3"/>
                </a:solidFill>
              </a:defRPr>
            </a:lvl2pPr>
            <a:lvl3pPr marL="0" indent="0">
              <a:defRPr sz="1000">
                <a:solidFill>
                  <a:schemeClr val="accent3"/>
                </a:solidFill>
              </a:defRPr>
            </a:lvl3pPr>
            <a:lvl4pPr marL="0" indent="0">
              <a:defRPr sz="1000">
                <a:solidFill>
                  <a:schemeClr val="accent3"/>
                </a:solidFill>
              </a:defRPr>
            </a:lvl4pPr>
            <a:lvl5pPr marL="0" indent="0">
              <a:defRPr sz="1000">
                <a:solidFill>
                  <a:schemeClr val="accent3"/>
                </a:solidFill>
              </a:defRPr>
            </a:lvl5pPr>
            <a:lvl6pPr marL="0" indent="0">
              <a:defRPr sz="1000">
                <a:solidFill>
                  <a:schemeClr val="accent3"/>
                </a:solidFill>
              </a:defRPr>
            </a:lvl6pPr>
            <a:lvl7pPr marL="0" indent="0">
              <a:defRPr sz="1000">
                <a:solidFill>
                  <a:schemeClr val="accent3"/>
                </a:solidFill>
              </a:defRPr>
            </a:lvl7pPr>
            <a:lvl8pPr marL="0" indent="0">
              <a:defRPr sz="1000">
                <a:solidFill>
                  <a:schemeClr val="accent3"/>
                </a:solidFill>
              </a:defRPr>
            </a:lvl8pPr>
            <a:lvl9pPr marL="0" indent="0">
              <a:defRPr sz="1000">
                <a:solidFill>
                  <a:schemeClr val="accent3"/>
                </a:solidFill>
              </a:defRPr>
            </a:lvl9pPr>
          </a:lstStyle>
          <a:p>
            <a:pPr rtl="0"/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  <a:lvl2pPr marL="0" indent="0">
              <a:defRPr sz="1000">
                <a:solidFill>
                  <a:schemeClr val="accent3"/>
                </a:solidFill>
              </a:defRPr>
            </a:lvl2pPr>
            <a:lvl3pPr marL="0" indent="0">
              <a:defRPr sz="1000">
                <a:solidFill>
                  <a:schemeClr val="accent3"/>
                </a:solidFill>
              </a:defRPr>
            </a:lvl3pPr>
            <a:lvl4pPr marL="0" indent="0">
              <a:defRPr sz="1000">
                <a:solidFill>
                  <a:schemeClr val="accent3"/>
                </a:solidFill>
              </a:defRPr>
            </a:lvl4pPr>
            <a:lvl5pPr marL="0" indent="0">
              <a:defRPr sz="1000">
                <a:solidFill>
                  <a:schemeClr val="accent3"/>
                </a:solidFill>
              </a:defRPr>
            </a:lvl5pPr>
            <a:lvl6pPr marL="0" indent="0">
              <a:defRPr sz="1000">
                <a:solidFill>
                  <a:schemeClr val="accent3"/>
                </a:solidFill>
              </a:defRPr>
            </a:lvl6pPr>
            <a:lvl7pPr marL="0" indent="0">
              <a:defRPr sz="1000">
                <a:solidFill>
                  <a:schemeClr val="accent3"/>
                </a:solidFill>
              </a:defRPr>
            </a:lvl7pPr>
            <a:lvl8pPr marL="0" indent="0">
              <a:defRPr sz="1000">
                <a:solidFill>
                  <a:schemeClr val="accent3"/>
                </a:solidFill>
              </a:defRPr>
            </a:lvl8pPr>
            <a:lvl9pPr marL="0" indent="0">
              <a:defRPr sz="1000">
                <a:solidFill>
                  <a:schemeClr val="accent3"/>
                </a:solidFill>
              </a:defRPr>
            </a:lvl9pPr>
          </a:lstStyle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33264" y="1931194"/>
            <a:ext cx="11520000" cy="3982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rtl="0"/>
            <a:r>
              <a:rPr lang="pt"/>
              <a:t>Click to edit Master text styles</a:t>
            </a:r>
          </a:p>
          <a:p>
            <a:pPr lvl="1" rtl="0"/>
            <a:r>
              <a:rPr lang="pt"/>
              <a:t>Second level</a:t>
            </a:r>
          </a:p>
          <a:p>
            <a:pPr lvl="2" rtl="0"/>
            <a:r>
              <a:rPr lang="pt"/>
              <a:t>Third level</a:t>
            </a:r>
          </a:p>
          <a:p>
            <a:pPr lvl="3" rtl="0"/>
            <a:r>
              <a:rPr lang="pt"/>
              <a:t>Fourth level</a:t>
            </a:r>
          </a:p>
          <a:p>
            <a:pPr lvl="4" rtl="0"/>
            <a:r>
              <a:rPr lang="pt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  <a:lvl2pPr marL="0" indent="0">
              <a:defRPr sz="1000">
                <a:solidFill>
                  <a:schemeClr val="accent3"/>
                </a:solidFill>
              </a:defRPr>
            </a:lvl2pPr>
            <a:lvl3pPr marL="0" indent="0">
              <a:defRPr sz="1000">
                <a:solidFill>
                  <a:schemeClr val="accent3"/>
                </a:solidFill>
              </a:defRPr>
            </a:lvl3pPr>
            <a:lvl4pPr marL="0" indent="0">
              <a:defRPr sz="1000">
                <a:solidFill>
                  <a:schemeClr val="accent3"/>
                </a:solidFill>
              </a:defRPr>
            </a:lvl4pPr>
            <a:lvl5pPr marL="0" indent="0">
              <a:defRPr sz="1000">
                <a:solidFill>
                  <a:schemeClr val="accent3"/>
                </a:solidFill>
              </a:defRPr>
            </a:lvl5pPr>
            <a:lvl6pPr marL="0" indent="0">
              <a:defRPr sz="1000">
                <a:solidFill>
                  <a:schemeClr val="accent3"/>
                </a:solidFill>
              </a:defRPr>
            </a:lvl6pPr>
            <a:lvl7pPr marL="0" indent="0">
              <a:defRPr sz="1000">
                <a:solidFill>
                  <a:schemeClr val="accent3"/>
                </a:solidFill>
              </a:defRPr>
            </a:lvl7pPr>
            <a:lvl8pPr marL="0" indent="0">
              <a:defRPr sz="1000">
                <a:solidFill>
                  <a:schemeClr val="accent3"/>
                </a:solidFill>
              </a:defRPr>
            </a:lvl8pPr>
            <a:lvl9pPr marL="0" indent="0">
              <a:defRPr sz="1000">
                <a:solidFill>
                  <a:schemeClr val="accent3"/>
                </a:solidFill>
              </a:defRPr>
            </a:lvl9pPr>
          </a:lstStyle>
          <a:p>
            <a:pPr rtl="0"/>
            <a:r>
              <a:rPr lang="pt"/>
              <a:t>Slide </a:t>
            </a:r>
            <a:fld id="{619F89D8-7AE3-494A-97F3-03D680869632}" type="slidenum">
              <a:rPr lang="en-US" smtClean="0"/>
              <a:pPr rtl="0"/>
              <a:t>‹nº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 bwMode="gray">
          <a:xfrm>
            <a:off x="335577" y="6094413"/>
            <a:ext cx="1152000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68" name="Group 67"/>
          <p:cNvGrpSpPr/>
          <p:nvPr/>
        </p:nvGrpSpPr>
        <p:grpSpPr bwMode="gray">
          <a:xfrm>
            <a:off x="334271" y="6327549"/>
            <a:ext cx="337946" cy="88364"/>
            <a:chOff x="61913" y="5218113"/>
            <a:chExt cx="3138487" cy="820737"/>
          </a:xfrm>
          <a:solidFill>
            <a:schemeClr val="accent3"/>
          </a:solidFill>
        </p:grpSpPr>
        <p:sp>
          <p:nvSpPr>
            <p:cNvPr id="69" name="Freeform 16"/>
            <p:cNvSpPr>
              <a:spLocks noEditPoints="1"/>
            </p:cNvSpPr>
            <p:nvPr userDrawn="1"/>
          </p:nvSpPr>
          <p:spPr bwMode="gray">
            <a:xfrm>
              <a:off x="61913" y="5218113"/>
              <a:ext cx="828675" cy="820737"/>
            </a:xfrm>
            <a:custGeom>
              <a:avLst/>
              <a:gdLst>
                <a:gd name="T0" fmla="*/ 111 w 221"/>
                <a:gd name="T1" fmla="*/ 219 h 219"/>
                <a:gd name="T2" fmla="*/ 53 w 221"/>
                <a:gd name="T3" fmla="*/ 203 h 219"/>
                <a:gd name="T4" fmla="*/ 14 w 221"/>
                <a:gd name="T5" fmla="*/ 163 h 219"/>
                <a:gd name="T6" fmla="*/ 0 w 221"/>
                <a:gd name="T7" fmla="*/ 109 h 219"/>
                <a:gd name="T8" fmla="*/ 15 w 221"/>
                <a:gd name="T9" fmla="*/ 53 h 219"/>
                <a:gd name="T10" fmla="*/ 56 w 221"/>
                <a:gd name="T11" fmla="*/ 14 h 219"/>
                <a:gd name="T12" fmla="*/ 111 w 221"/>
                <a:gd name="T13" fmla="*/ 0 h 219"/>
                <a:gd name="T14" fmla="*/ 168 w 221"/>
                <a:gd name="T15" fmla="*/ 15 h 219"/>
                <a:gd name="T16" fmla="*/ 207 w 221"/>
                <a:gd name="T17" fmla="*/ 55 h 219"/>
                <a:gd name="T18" fmla="*/ 221 w 221"/>
                <a:gd name="T19" fmla="*/ 109 h 219"/>
                <a:gd name="T20" fmla="*/ 206 w 221"/>
                <a:gd name="T21" fmla="*/ 166 h 219"/>
                <a:gd name="T22" fmla="*/ 165 w 221"/>
                <a:gd name="T23" fmla="*/ 205 h 219"/>
                <a:gd name="T24" fmla="*/ 111 w 221"/>
                <a:gd name="T25" fmla="*/ 219 h 219"/>
                <a:gd name="T26" fmla="*/ 111 w 221"/>
                <a:gd name="T27" fmla="*/ 190 h 219"/>
                <a:gd name="T28" fmla="*/ 153 w 221"/>
                <a:gd name="T29" fmla="*/ 180 h 219"/>
                <a:gd name="T30" fmla="*/ 181 w 221"/>
                <a:gd name="T31" fmla="*/ 151 h 219"/>
                <a:gd name="T32" fmla="*/ 191 w 221"/>
                <a:gd name="T33" fmla="*/ 109 h 219"/>
                <a:gd name="T34" fmla="*/ 180 w 221"/>
                <a:gd name="T35" fmla="*/ 67 h 219"/>
                <a:gd name="T36" fmla="*/ 151 w 221"/>
                <a:gd name="T37" fmla="*/ 38 h 219"/>
                <a:gd name="T38" fmla="*/ 111 w 221"/>
                <a:gd name="T39" fmla="*/ 28 h 219"/>
                <a:gd name="T40" fmla="*/ 68 w 221"/>
                <a:gd name="T41" fmla="*/ 39 h 219"/>
                <a:gd name="T42" fmla="*/ 40 w 221"/>
                <a:gd name="T43" fmla="*/ 68 h 219"/>
                <a:gd name="T44" fmla="*/ 31 w 221"/>
                <a:gd name="T45" fmla="*/ 109 h 219"/>
                <a:gd name="T46" fmla="*/ 41 w 221"/>
                <a:gd name="T47" fmla="*/ 152 h 219"/>
                <a:gd name="T48" fmla="*/ 70 w 221"/>
                <a:gd name="T49" fmla="*/ 180 h 219"/>
                <a:gd name="T50" fmla="*/ 111 w 221"/>
                <a:gd name="T51" fmla="*/ 190 h 219"/>
                <a:gd name="T52" fmla="*/ 115 w 221"/>
                <a:gd name="T53" fmla="*/ 50 h 219"/>
                <a:gd name="T54" fmla="*/ 139 w 221"/>
                <a:gd name="T55" fmla="*/ 54 h 219"/>
                <a:gd name="T56" fmla="*/ 156 w 221"/>
                <a:gd name="T57" fmla="*/ 63 h 219"/>
                <a:gd name="T58" fmla="*/ 145 w 221"/>
                <a:gd name="T59" fmla="*/ 85 h 219"/>
                <a:gd name="T60" fmla="*/ 117 w 221"/>
                <a:gd name="T61" fmla="*/ 76 h 219"/>
                <a:gd name="T62" fmla="*/ 93 w 221"/>
                <a:gd name="T63" fmla="*/ 85 h 219"/>
                <a:gd name="T64" fmla="*/ 84 w 221"/>
                <a:gd name="T65" fmla="*/ 110 h 219"/>
                <a:gd name="T66" fmla="*/ 93 w 221"/>
                <a:gd name="T67" fmla="*/ 134 h 219"/>
                <a:gd name="T68" fmla="*/ 117 w 221"/>
                <a:gd name="T69" fmla="*/ 143 h 219"/>
                <a:gd name="T70" fmla="*/ 146 w 221"/>
                <a:gd name="T71" fmla="*/ 132 h 219"/>
                <a:gd name="T72" fmla="*/ 158 w 221"/>
                <a:gd name="T73" fmla="*/ 153 h 219"/>
                <a:gd name="T74" fmla="*/ 140 w 221"/>
                <a:gd name="T75" fmla="*/ 165 h 219"/>
                <a:gd name="T76" fmla="*/ 115 w 221"/>
                <a:gd name="T77" fmla="*/ 169 h 219"/>
                <a:gd name="T78" fmla="*/ 71 w 221"/>
                <a:gd name="T79" fmla="*/ 153 h 219"/>
                <a:gd name="T80" fmla="*/ 54 w 221"/>
                <a:gd name="T81" fmla="*/ 111 h 219"/>
                <a:gd name="T82" fmla="*/ 71 w 221"/>
                <a:gd name="T83" fmla="*/ 67 h 219"/>
                <a:gd name="T84" fmla="*/ 115 w 221"/>
                <a:gd name="T85" fmla="*/ 5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1" h="219">
                  <a:moveTo>
                    <a:pt x="111" y="219"/>
                  </a:moveTo>
                  <a:cubicBezTo>
                    <a:pt x="89" y="219"/>
                    <a:pt x="70" y="214"/>
                    <a:pt x="53" y="203"/>
                  </a:cubicBezTo>
                  <a:cubicBezTo>
                    <a:pt x="36" y="193"/>
                    <a:pt x="23" y="180"/>
                    <a:pt x="14" y="163"/>
                  </a:cubicBezTo>
                  <a:cubicBezTo>
                    <a:pt x="4" y="147"/>
                    <a:pt x="0" y="129"/>
                    <a:pt x="0" y="109"/>
                  </a:cubicBezTo>
                  <a:cubicBezTo>
                    <a:pt x="0" y="88"/>
                    <a:pt x="5" y="70"/>
                    <a:pt x="15" y="53"/>
                  </a:cubicBezTo>
                  <a:cubicBezTo>
                    <a:pt x="25" y="36"/>
                    <a:pt x="39" y="23"/>
                    <a:pt x="56" y="14"/>
                  </a:cubicBezTo>
                  <a:cubicBezTo>
                    <a:pt x="73" y="5"/>
                    <a:pt x="91" y="0"/>
                    <a:pt x="111" y="0"/>
                  </a:cubicBezTo>
                  <a:cubicBezTo>
                    <a:pt x="132" y="0"/>
                    <a:pt x="151" y="5"/>
                    <a:pt x="168" y="15"/>
                  </a:cubicBezTo>
                  <a:cubicBezTo>
                    <a:pt x="185" y="26"/>
                    <a:pt x="198" y="39"/>
                    <a:pt x="207" y="55"/>
                  </a:cubicBezTo>
                  <a:cubicBezTo>
                    <a:pt x="217" y="72"/>
                    <a:pt x="221" y="90"/>
                    <a:pt x="221" y="109"/>
                  </a:cubicBezTo>
                  <a:cubicBezTo>
                    <a:pt x="221" y="130"/>
                    <a:pt x="216" y="149"/>
                    <a:pt x="206" y="166"/>
                  </a:cubicBezTo>
                  <a:cubicBezTo>
                    <a:pt x="196" y="183"/>
                    <a:pt x="182" y="196"/>
                    <a:pt x="165" y="205"/>
                  </a:cubicBezTo>
                  <a:cubicBezTo>
                    <a:pt x="149" y="214"/>
                    <a:pt x="130" y="219"/>
                    <a:pt x="111" y="219"/>
                  </a:cubicBezTo>
                  <a:close/>
                  <a:moveTo>
                    <a:pt x="111" y="190"/>
                  </a:moveTo>
                  <a:cubicBezTo>
                    <a:pt x="127" y="190"/>
                    <a:pt x="141" y="187"/>
                    <a:pt x="153" y="180"/>
                  </a:cubicBezTo>
                  <a:cubicBezTo>
                    <a:pt x="165" y="173"/>
                    <a:pt x="174" y="163"/>
                    <a:pt x="181" y="151"/>
                  </a:cubicBezTo>
                  <a:cubicBezTo>
                    <a:pt x="187" y="139"/>
                    <a:pt x="191" y="125"/>
                    <a:pt x="191" y="109"/>
                  </a:cubicBezTo>
                  <a:cubicBezTo>
                    <a:pt x="191" y="93"/>
                    <a:pt x="187" y="79"/>
                    <a:pt x="180" y="67"/>
                  </a:cubicBezTo>
                  <a:cubicBezTo>
                    <a:pt x="173" y="55"/>
                    <a:pt x="163" y="45"/>
                    <a:pt x="151" y="38"/>
                  </a:cubicBezTo>
                  <a:cubicBezTo>
                    <a:pt x="139" y="32"/>
                    <a:pt x="126" y="28"/>
                    <a:pt x="111" y="28"/>
                  </a:cubicBezTo>
                  <a:cubicBezTo>
                    <a:pt x="95" y="28"/>
                    <a:pt x="81" y="32"/>
                    <a:pt x="68" y="39"/>
                  </a:cubicBezTo>
                  <a:cubicBezTo>
                    <a:pt x="56" y="46"/>
                    <a:pt x="47" y="56"/>
                    <a:pt x="40" y="68"/>
                  </a:cubicBezTo>
                  <a:cubicBezTo>
                    <a:pt x="34" y="80"/>
                    <a:pt x="31" y="94"/>
                    <a:pt x="31" y="109"/>
                  </a:cubicBezTo>
                  <a:cubicBezTo>
                    <a:pt x="31" y="126"/>
                    <a:pt x="34" y="140"/>
                    <a:pt x="41" y="152"/>
                  </a:cubicBezTo>
                  <a:cubicBezTo>
                    <a:pt x="48" y="164"/>
                    <a:pt x="58" y="174"/>
                    <a:pt x="70" y="180"/>
                  </a:cubicBezTo>
                  <a:cubicBezTo>
                    <a:pt x="82" y="187"/>
                    <a:pt x="95" y="190"/>
                    <a:pt x="111" y="190"/>
                  </a:cubicBezTo>
                  <a:close/>
                  <a:moveTo>
                    <a:pt x="115" y="50"/>
                  </a:moveTo>
                  <a:cubicBezTo>
                    <a:pt x="124" y="50"/>
                    <a:pt x="131" y="51"/>
                    <a:pt x="139" y="54"/>
                  </a:cubicBezTo>
                  <a:cubicBezTo>
                    <a:pt x="146" y="56"/>
                    <a:pt x="152" y="59"/>
                    <a:pt x="156" y="63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37" y="79"/>
                    <a:pt x="128" y="76"/>
                    <a:pt x="117" y="76"/>
                  </a:cubicBezTo>
                  <a:cubicBezTo>
                    <a:pt x="107" y="76"/>
                    <a:pt x="99" y="79"/>
                    <a:pt x="93" y="85"/>
                  </a:cubicBezTo>
                  <a:cubicBezTo>
                    <a:pt x="87" y="91"/>
                    <a:pt x="84" y="100"/>
                    <a:pt x="84" y="110"/>
                  </a:cubicBezTo>
                  <a:cubicBezTo>
                    <a:pt x="84" y="120"/>
                    <a:pt x="87" y="128"/>
                    <a:pt x="93" y="134"/>
                  </a:cubicBezTo>
                  <a:cubicBezTo>
                    <a:pt x="99" y="140"/>
                    <a:pt x="107" y="143"/>
                    <a:pt x="117" y="143"/>
                  </a:cubicBezTo>
                  <a:cubicBezTo>
                    <a:pt x="129" y="143"/>
                    <a:pt x="138" y="139"/>
                    <a:pt x="146" y="132"/>
                  </a:cubicBezTo>
                  <a:cubicBezTo>
                    <a:pt x="158" y="153"/>
                    <a:pt x="158" y="153"/>
                    <a:pt x="158" y="153"/>
                  </a:cubicBezTo>
                  <a:cubicBezTo>
                    <a:pt x="153" y="158"/>
                    <a:pt x="147" y="162"/>
                    <a:pt x="140" y="165"/>
                  </a:cubicBezTo>
                  <a:cubicBezTo>
                    <a:pt x="132" y="168"/>
                    <a:pt x="124" y="169"/>
                    <a:pt x="115" y="169"/>
                  </a:cubicBezTo>
                  <a:cubicBezTo>
                    <a:pt x="97" y="169"/>
                    <a:pt x="82" y="164"/>
                    <a:pt x="71" y="153"/>
                  </a:cubicBezTo>
                  <a:cubicBezTo>
                    <a:pt x="60" y="142"/>
                    <a:pt x="54" y="128"/>
                    <a:pt x="54" y="111"/>
                  </a:cubicBezTo>
                  <a:cubicBezTo>
                    <a:pt x="54" y="93"/>
                    <a:pt x="60" y="78"/>
                    <a:pt x="71" y="67"/>
                  </a:cubicBezTo>
                  <a:cubicBezTo>
                    <a:pt x="82" y="56"/>
                    <a:pt x="97" y="50"/>
                    <a:pt x="11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 dirty="0"/>
            </a:p>
          </p:txBody>
        </p:sp>
        <p:sp>
          <p:nvSpPr>
            <p:cNvPr id="70" name="Freeform 17"/>
            <p:cNvSpPr>
              <a:spLocks noEditPoints="1"/>
            </p:cNvSpPr>
            <p:nvPr userDrawn="1"/>
          </p:nvSpPr>
          <p:spPr bwMode="gray">
            <a:xfrm>
              <a:off x="957263" y="5237163"/>
              <a:ext cx="773112" cy="782637"/>
            </a:xfrm>
            <a:custGeom>
              <a:avLst/>
              <a:gdLst>
                <a:gd name="T0" fmla="*/ 305 w 487"/>
                <a:gd name="T1" fmla="*/ 0 h 493"/>
                <a:gd name="T2" fmla="*/ 487 w 487"/>
                <a:gd name="T3" fmla="*/ 493 h 493"/>
                <a:gd name="T4" fmla="*/ 369 w 487"/>
                <a:gd name="T5" fmla="*/ 493 h 493"/>
                <a:gd name="T6" fmla="*/ 336 w 487"/>
                <a:gd name="T7" fmla="*/ 390 h 493"/>
                <a:gd name="T8" fmla="*/ 151 w 487"/>
                <a:gd name="T9" fmla="*/ 390 h 493"/>
                <a:gd name="T10" fmla="*/ 118 w 487"/>
                <a:gd name="T11" fmla="*/ 493 h 493"/>
                <a:gd name="T12" fmla="*/ 0 w 487"/>
                <a:gd name="T13" fmla="*/ 493 h 493"/>
                <a:gd name="T14" fmla="*/ 184 w 487"/>
                <a:gd name="T15" fmla="*/ 0 h 493"/>
                <a:gd name="T16" fmla="*/ 305 w 487"/>
                <a:gd name="T17" fmla="*/ 0 h 493"/>
                <a:gd name="T18" fmla="*/ 180 w 487"/>
                <a:gd name="T19" fmla="*/ 300 h 493"/>
                <a:gd name="T20" fmla="*/ 307 w 487"/>
                <a:gd name="T21" fmla="*/ 300 h 493"/>
                <a:gd name="T22" fmla="*/ 243 w 487"/>
                <a:gd name="T23" fmla="*/ 104 h 493"/>
                <a:gd name="T24" fmla="*/ 180 w 487"/>
                <a:gd name="T25" fmla="*/ 300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7" h="493">
                  <a:moveTo>
                    <a:pt x="305" y="0"/>
                  </a:moveTo>
                  <a:lnTo>
                    <a:pt x="487" y="493"/>
                  </a:lnTo>
                  <a:lnTo>
                    <a:pt x="369" y="493"/>
                  </a:lnTo>
                  <a:lnTo>
                    <a:pt x="336" y="390"/>
                  </a:lnTo>
                  <a:lnTo>
                    <a:pt x="151" y="390"/>
                  </a:lnTo>
                  <a:lnTo>
                    <a:pt x="118" y="493"/>
                  </a:lnTo>
                  <a:lnTo>
                    <a:pt x="0" y="493"/>
                  </a:lnTo>
                  <a:lnTo>
                    <a:pt x="184" y="0"/>
                  </a:lnTo>
                  <a:lnTo>
                    <a:pt x="305" y="0"/>
                  </a:lnTo>
                  <a:close/>
                  <a:moveTo>
                    <a:pt x="180" y="300"/>
                  </a:moveTo>
                  <a:lnTo>
                    <a:pt x="307" y="300"/>
                  </a:lnTo>
                  <a:lnTo>
                    <a:pt x="243" y="104"/>
                  </a:lnTo>
                  <a:lnTo>
                    <a:pt x="18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 dirty="0"/>
            </a:p>
          </p:txBody>
        </p:sp>
        <p:sp>
          <p:nvSpPr>
            <p:cNvPr id="71" name="Freeform 18"/>
            <p:cNvSpPr>
              <a:spLocks noEditPoints="1"/>
            </p:cNvSpPr>
            <p:nvPr userDrawn="1"/>
          </p:nvSpPr>
          <p:spPr bwMode="gray">
            <a:xfrm>
              <a:off x="1819275" y="5237163"/>
              <a:ext cx="622300" cy="782637"/>
            </a:xfrm>
            <a:custGeom>
              <a:avLst/>
              <a:gdLst>
                <a:gd name="T0" fmla="*/ 0 w 166"/>
                <a:gd name="T1" fmla="*/ 0 h 209"/>
                <a:gd name="T2" fmla="*/ 82 w 166"/>
                <a:gd name="T3" fmla="*/ 0 h 209"/>
                <a:gd name="T4" fmla="*/ 132 w 166"/>
                <a:gd name="T5" fmla="*/ 15 h 209"/>
                <a:gd name="T6" fmla="*/ 150 w 166"/>
                <a:gd name="T7" fmla="*/ 53 h 209"/>
                <a:gd name="T8" fmla="*/ 128 w 166"/>
                <a:gd name="T9" fmla="*/ 94 h 209"/>
                <a:gd name="T10" fmla="*/ 166 w 166"/>
                <a:gd name="T11" fmla="*/ 146 h 209"/>
                <a:gd name="T12" fmla="*/ 146 w 166"/>
                <a:gd name="T13" fmla="*/ 192 h 209"/>
                <a:gd name="T14" fmla="*/ 86 w 166"/>
                <a:gd name="T15" fmla="*/ 209 h 209"/>
                <a:gd name="T16" fmla="*/ 0 w 166"/>
                <a:gd name="T17" fmla="*/ 209 h 209"/>
                <a:gd name="T18" fmla="*/ 0 w 166"/>
                <a:gd name="T19" fmla="*/ 0 h 209"/>
                <a:gd name="T20" fmla="*/ 78 w 166"/>
                <a:gd name="T21" fmla="*/ 81 h 209"/>
                <a:gd name="T22" fmla="*/ 99 w 166"/>
                <a:gd name="T23" fmla="*/ 75 h 209"/>
                <a:gd name="T24" fmla="*/ 106 w 166"/>
                <a:gd name="T25" fmla="*/ 59 h 209"/>
                <a:gd name="T26" fmla="*/ 99 w 166"/>
                <a:gd name="T27" fmla="*/ 42 h 209"/>
                <a:gd name="T28" fmla="*/ 79 w 166"/>
                <a:gd name="T29" fmla="*/ 37 h 209"/>
                <a:gd name="T30" fmla="*/ 46 w 166"/>
                <a:gd name="T31" fmla="*/ 37 h 209"/>
                <a:gd name="T32" fmla="*/ 46 w 166"/>
                <a:gd name="T33" fmla="*/ 81 h 209"/>
                <a:gd name="T34" fmla="*/ 78 w 166"/>
                <a:gd name="T35" fmla="*/ 81 h 209"/>
                <a:gd name="T36" fmla="*/ 84 w 166"/>
                <a:gd name="T37" fmla="*/ 172 h 209"/>
                <a:gd name="T38" fmla="*/ 111 w 166"/>
                <a:gd name="T39" fmla="*/ 165 h 209"/>
                <a:gd name="T40" fmla="*/ 120 w 166"/>
                <a:gd name="T41" fmla="*/ 145 h 209"/>
                <a:gd name="T42" fmla="*/ 111 w 166"/>
                <a:gd name="T43" fmla="*/ 124 h 209"/>
                <a:gd name="T44" fmla="*/ 85 w 166"/>
                <a:gd name="T45" fmla="*/ 117 h 209"/>
                <a:gd name="T46" fmla="*/ 46 w 166"/>
                <a:gd name="T47" fmla="*/ 117 h 209"/>
                <a:gd name="T48" fmla="*/ 46 w 166"/>
                <a:gd name="T49" fmla="*/ 172 h 209"/>
                <a:gd name="T50" fmla="*/ 84 w 166"/>
                <a:gd name="T51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209">
                  <a:moveTo>
                    <a:pt x="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103" y="0"/>
                    <a:pt x="119" y="5"/>
                    <a:pt x="132" y="15"/>
                  </a:cubicBezTo>
                  <a:cubicBezTo>
                    <a:pt x="144" y="24"/>
                    <a:pt x="150" y="37"/>
                    <a:pt x="150" y="53"/>
                  </a:cubicBezTo>
                  <a:cubicBezTo>
                    <a:pt x="150" y="71"/>
                    <a:pt x="143" y="84"/>
                    <a:pt x="128" y="94"/>
                  </a:cubicBezTo>
                  <a:cubicBezTo>
                    <a:pt x="154" y="103"/>
                    <a:pt x="166" y="120"/>
                    <a:pt x="166" y="146"/>
                  </a:cubicBezTo>
                  <a:cubicBezTo>
                    <a:pt x="166" y="166"/>
                    <a:pt x="160" y="182"/>
                    <a:pt x="146" y="192"/>
                  </a:cubicBezTo>
                  <a:cubicBezTo>
                    <a:pt x="132" y="203"/>
                    <a:pt x="112" y="209"/>
                    <a:pt x="86" y="209"/>
                  </a:cubicBezTo>
                  <a:cubicBezTo>
                    <a:pt x="0" y="209"/>
                    <a:pt x="0" y="209"/>
                    <a:pt x="0" y="209"/>
                  </a:cubicBezTo>
                  <a:lnTo>
                    <a:pt x="0" y="0"/>
                  </a:lnTo>
                  <a:close/>
                  <a:moveTo>
                    <a:pt x="78" y="81"/>
                  </a:moveTo>
                  <a:cubicBezTo>
                    <a:pt x="87" y="81"/>
                    <a:pt x="94" y="79"/>
                    <a:pt x="99" y="75"/>
                  </a:cubicBezTo>
                  <a:cubicBezTo>
                    <a:pt x="104" y="71"/>
                    <a:pt x="106" y="66"/>
                    <a:pt x="106" y="59"/>
                  </a:cubicBezTo>
                  <a:cubicBezTo>
                    <a:pt x="106" y="52"/>
                    <a:pt x="104" y="46"/>
                    <a:pt x="99" y="42"/>
                  </a:cubicBezTo>
                  <a:cubicBezTo>
                    <a:pt x="94" y="38"/>
                    <a:pt x="87" y="37"/>
                    <a:pt x="79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81"/>
                    <a:pt x="46" y="81"/>
                    <a:pt x="46" y="81"/>
                  </a:cubicBezTo>
                  <a:lnTo>
                    <a:pt x="78" y="81"/>
                  </a:lnTo>
                  <a:close/>
                  <a:moveTo>
                    <a:pt x="84" y="172"/>
                  </a:moveTo>
                  <a:cubicBezTo>
                    <a:pt x="96" y="172"/>
                    <a:pt x="105" y="169"/>
                    <a:pt x="111" y="165"/>
                  </a:cubicBezTo>
                  <a:cubicBezTo>
                    <a:pt x="117" y="160"/>
                    <a:pt x="120" y="154"/>
                    <a:pt x="120" y="145"/>
                  </a:cubicBezTo>
                  <a:cubicBezTo>
                    <a:pt x="120" y="136"/>
                    <a:pt x="117" y="129"/>
                    <a:pt x="111" y="124"/>
                  </a:cubicBezTo>
                  <a:cubicBezTo>
                    <a:pt x="105" y="119"/>
                    <a:pt x="96" y="117"/>
                    <a:pt x="85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72"/>
                    <a:pt x="46" y="172"/>
                    <a:pt x="46" y="172"/>
                  </a:cubicBezTo>
                  <a:lnTo>
                    <a:pt x="8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 dirty="0"/>
            </a:p>
          </p:txBody>
        </p:sp>
        <p:sp>
          <p:nvSpPr>
            <p:cNvPr id="72" name="Freeform 19"/>
            <p:cNvSpPr>
              <a:spLocks noEditPoints="1"/>
            </p:cNvSpPr>
            <p:nvPr userDrawn="1"/>
          </p:nvSpPr>
          <p:spPr bwMode="gray">
            <a:xfrm>
              <a:off x="2573338" y="5237163"/>
              <a:ext cx="627062" cy="782637"/>
            </a:xfrm>
            <a:custGeom>
              <a:avLst/>
              <a:gdLst>
                <a:gd name="T0" fmla="*/ 0 w 167"/>
                <a:gd name="T1" fmla="*/ 0 h 209"/>
                <a:gd name="T2" fmla="*/ 82 w 167"/>
                <a:gd name="T3" fmla="*/ 0 h 209"/>
                <a:gd name="T4" fmla="*/ 132 w 167"/>
                <a:gd name="T5" fmla="*/ 15 h 209"/>
                <a:gd name="T6" fmla="*/ 150 w 167"/>
                <a:gd name="T7" fmla="*/ 53 h 209"/>
                <a:gd name="T8" fmla="*/ 128 w 167"/>
                <a:gd name="T9" fmla="*/ 94 h 209"/>
                <a:gd name="T10" fmla="*/ 167 w 167"/>
                <a:gd name="T11" fmla="*/ 146 h 209"/>
                <a:gd name="T12" fmla="*/ 146 w 167"/>
                <a:gd name="T13" fmla="*/ 192 h 209"/>
                <a:gd name="T14" fmla="*/ 86 w 167"/>
                <a:gd name="T15" fmla="*/ 209 h 209"/>
                <a:gd name="T16" fmla="*/ 0 w 167"/>
                <a:gd name="T17" fmla="*/ 209 h 209"/>
                <a:gd name="T18" fmla="*/ 0 w 167"/>
                <a:gd name="T19" fmla="*/ 0 h 209"/>
                <a:gd name="T20" fmla="*/ 79 w 167"/>
                <a:gd name="T21" fmla="*/ 81 h 209"/>
                <a:gd name="T22" fmla="*/ 99 w 167"/>
                <a:gd name="T23" fmla="*/ 75 h 209"/>
                <a:gd name="T24" fmla="*/ 106 w 167"/>
                <a:gd name="T25" fmla="*/ 59 h 209"/>
                <a:gd name="T26" fmla="*/ 99 w 167"/>
                <a:gd name="T27" fmla="*/ 42 h 209"/>
                <a:gd name="T28" fmla="*/ 79 w 167"/>
                <a:gd name="T29" fmla="*/ 37 h 209"/>
                <a:gd name="T30" fmla="*/ 46 w 167"/>
                <a:gd name="T31" fmla="*/ 37 h 209"/>
                <a:gd name="T32" fmla="*/ 46 w 167"/>
                <a:gd name="T33" fmla="*/ 81 h 209"/>
                <a:gd name="T34" fmla="*/ 79 w 167"/>
                <a:gd name="T35" fmla="*/ 81 h 209"/>
                <a:gd name="T36" fmla="*/ 84 w 167"/>
                <a:gd name="T37" fmla="*/ 172 h 209"/>
                <a:gd name="T38" fmla="*/ 111 w 167"/>
                <a:gd name="T39" fmla="*/ 165 h 209"/>
                <a:gd name="T40" fmla="*/ 121 w 167"/>
                <a:gd name="T41" fmla="*/ 145 h 209"/>
                <a:gd name="T42" fmla="*/ 111 w 167"/>
                <a:gd name="T43" fmla="*/ 124 h 209"/>
                <a:gd name="T44" fmla="*/ 85 w 167"/>
                <a:gd name="T45" fmla="*/ 117 h 209"/>
                <a:gd name="T46" fmla="*/ 46 w 167"/>
                <a:gd name="T47" fmla="*/ 117 h 209"/>
                <a:gd name="T48" fmla="*/ 46 w 167"/>
                <a:gd name="T49" fmla="*/ 172 h 209"/>
                <a:gd name="T50" fmla="*/ 84 w 167"/>
                <a:gd name="T51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9">
                  <a:moveTo>
                    <a:pt x="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103" y="0"/>
                    <a:pt x="120" y="5"/>
                    <a:pt x="132" y="15"/>
                  </a:cubicBezTo>
                  <a:cubicBezTo>
                    <a:pt x="144" y="24"/>
                    <a:pt x="150" y="37"/>
                    <a:pt x="150" y="53"/>
                  </a:cubicBezTo>
                  <a:cubicBezTo>
                    <a:pt x="150" y="71"/>
                    <a:pt x="143" y="84"/>
                    <a:pt x="128" y="94"/>
                  </a:cubicBezTo>
                  <a:cubicBezTo>
                    <a:pt x="154" y="103"/>
                    <a:pt x="167" y="120"/>
                    <a:pt x="167" y="146"/>
                  </a:cubicBezTo>
                  <a:cubicBezTo>
                    <a:pt x="167" y="166"/>
                    <a:pt x="160" y="182"/>
                    <a:pt x="146" y="192"/>
                  </a:cubicBezTo>
                  <a:cubicBezTo>
                    <a:pt x="132" y="203"/>
                    <a:pt x="112" y="209"/>
                    <a:pt x="86" y="209"/>
                  </a:cubicBezTo>
                  <a:cubicBezTo>
                    <a:pt x="0" y="209"/>
                    <a:pt x="0" y="209"/>
                    <a:pt x="0" y="209"/>
                  </a:cubicBezTo>
                  <a:lnTo>
                    <a:pt x="0" y="0"/>
                  </a:lnTo>
                  <a:close/>
                  <a:moveTo>
                    <a:pt x="79" y="81"/>
                  </a:moveTo>
                  <a:cubicBezTo>
                    <a:pt x="87" y="81"/>
                    <a:pt x="94" y="79"/>
                    <a:pt x="99" y="75"/>
                  </a:cubicBezTo>
                  <a:cubicBezTo>
                    <a:pt x="104" y="71"/>
                    <a:pt x="106" y="66"/>
                    <a:pt x="106" y="59"/>
                  </a:cubicBezTo>
                  <a:cubicBezTo>
                    <a:pt x="106" y="52"/>
                    <a:pt x="104" y="46"/>
                    <a:pt x="99" y="42"/>
                  </a:cubicBezTo>
                  <a:cubicBezTo>
                    <a:pt x="94" y="38"/>
                    <a:pt x="88" y="37"/>
                    <a:pt x="79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81"/>
                    <a:pt x="46" y="81"/>
                    <a:pt x="46" y="81"/>
                  </a:cubicBezTo>
                  <a:lnTo>
                    <a:pt x="79" y="81"/>
                  </a:lnTo>
                  <a:close/>
                  <a:moveTo>
                    <a:pt x="84" y="172"/>
                  </a:moveTo>
                  <a:cubicBezTo>
                    <a:pt x="96" y="172"/>
                    <a:pt x="105" y="169"/>
                    <a:pt x="111" y="165"/>
                  </a:cubicBezTo>
                  <a:cubicBezTo>
                    <a:pt x="118" y="160"/>
                    <a:pt x="121" y="154"/>
                    <a:pt x="121" y="145"/>
                  </a:cubicBezTo>
                  <a:cubicBezTo>
                    <a:pt x="121" y="136"/>
                    <a:pt x="117" y="129"/>
                    <a:pt x="111" y="124"/>
                  </a:cubicBezTo>
                  <a:cubicBezTo>
                    <a:pt x="105" y="119"/>
                    <a:pt x="96" y="117"/>
                    <a:pt x="85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72"/>
                    <a:pt x="46" y="172"/>
                    <a:pt x="46" y="172"/>
                  </a:cubicBezTo>
                  <a:lnTo>
                    <a:pt x="8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 dirty="0"/>
            </a:p>
          </p:txBody>
        </p:sp>
      </p:grpSp>
      <p:cxnSp>
        <p:nvCxnSpPr>
          <p:cNvPr id="73" name="Straight Connector 72"/>
          <p:cNvCxnSpPr/>
          <p:nvPr/>
        </p:nvCxnSpPr>
        <p:spPr bwMode="gray">
          <a:xfrm>
            <a:off x="1692854" y="6472543"/>
            <a:ext cx="0" cy="132461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 bwMode="gray">
          <a:xfrm>
            <a:off x="242214" y="426352"/>
            <a:ext cx="55097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2400" b="1">
                <a:solidFill>
                  <a:schemeClr val="bg2"/>
                </a:solidFill>
              </a:rPr>
              <a:t>—</a:t>
            </a:r>
            <a:endParaRPr lang="en-US" sz="2400" b="1" dirty="0">
              <a:solidFill>
                <a:schemeClr val="bg2"/>
              </a:solidFill>
            </a:endParaRPr>
          </a:p>
        </p:txBody>
      </p:sp>
      <p:pic>
        <p:nvPicPr>
          <p:cNvPr id="16" name="Picture 19"/>
          <p:cNvPicPr>
            <a:picLocks noChangeAspect="1" noChangeArrowheads="1"/>
          </p:cNvPicPr>
          <p:nvPr userDrawn="1"/>
        </p:nvPicPr>
        <p:blipFill>
          <a:blip r:embed="rId6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45664" y="6393976"/>
            <a:ext cx="507600" cy="194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8355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  <p:sldLayoutId id="2147483781" r:id="rId20"/>
    <p:sldLayoutId id="2147483782" r:id="rId21"/>
    <p:sldLayoutId id="2147483783" r:id="rId22"/>
    <p:sldLayoutId id="2147483784" r:id="rId23"/>
    <p:sldLayoutId id="2147483785" r:id="rId24"/>
    <p:sldLayoutId id="2147483786" r:id="rId25"/>
    <p:sldLayoutId id="2147483787" r:id="rId26"/>
    <p:sldLayoutId id="2147483788" r:id="rId27"/>
    <p:sldLayoutId id="2147483789" r:id="rId28"/>
    <p:sldLayoutId id="2147483790" r:id="rId29"/>
    <p:sldLayoutId id="2147483791" r:id="rId30"/>
    <p:sldLayoutId id="2147483792" r:id="rId31"/>
    <p:sldLayoutId id="2147483793" r:id="rId32"/>
    <p:sldLayoutId id="2147483794" r:id="rId33"/>
    <p:sldLayoutId id="2147483795" r:id="rId34"/>
    <p:sldLayoutId id="2147483796" r:id="rId35"/>
    <p:sldLayoutId id="2147483797" r:id="rId36"/>
    <p:sldLayoutId id="2147483798" r:id="rId37"/>
    <p:sldLayoutId id="2147483799" r:id="rId38"/>
    <p:sldLayoutId id="2147483800" r:id="rId39"/>
    <p:sldLayoutId id="2147483801" r:id="rId40"/>
    <p:sldLayoutId id="2147483802" r:id="rId41"/>
    <p:sldLayoutId id="2147483803" r:id="rId42"/>
    <p:sldLayoutId id="2147483804" r:id="rId43"/>
    <p:sldLayoutId id="2147483805" r:id="rId44"/>
    <p:sldLayoutId id="2147483806" r:id="rId45"/>
    <p:sldLayoutId id="2147483807" r:id="rId46"/>
    <p:sldLayoutId id="2147483808" r:id="rId47"/>
    <p:sldLayoutId id="2147483809" r:id="rId48"/>
    <p:sldLayoutId id="2147483810" r:id="rId49"/>
    <p:sldLayoutId id="2147483811" r:id="rId50"/>
    <p:sldLayoutId id="2147483812" r:id="rId51"/>
    <p:sldLayoutId id="2147483813" r:id="rId52"/>
    <p:sldLayoutId id="2147483814" r:id="rId5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l" defTabSz="914491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91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18" indent="-180018" algn="l" defTabSz="914491" rtl="0" eaLnBrk="1" latinLnBrk="0" hangingPunct="1">
        <a:spcBef>
          <a:spcPts val="600"/>
        </a:spcBef>
        <a:buFont typeface="ABBvoiceOffice" panose="020D060302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36" indent="-180018" algn="l" defTabSz="914491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6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91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37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83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29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74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20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66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218">
          <p15:clr>
            <a:srgbClr val="F26B43"/>
          </p15:clr>
        </p15:guide>
        <p15:guide id="2" pos="7469">
          <p15:clr>
            <a:srgbClr val="F26B43"/>
          </p15:clr>
        </p15:guide>
        <p15:guide id="3" pos="212">
          <p15:clr>
            <a:srgbClr val="F26B43"/>
          </p15:clr>
        </p15:guide>
        <p15:guide id="4" orient="horz" pos="3726">
          <p15:clr>
            <a:srgbClr val="F26B43"/>
          </p15:clr>
        </p15:guide>
        <p15:guide id="5" pos="3840">
          <p15:clr>
            <a:srgbClr val="F26B43"/>
          </p15:clr>
        </p15:guide>
        <p15:guide id="6" orient="horz" pos="24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6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39.svg"/><Relationship Id="rId7" Type="http://schemas.openxmlformats.org/officeDocument/2006/relationships/image" Target="../media/image40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42.sv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6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4.png"/><Relationship Id="rId7" Type="http://schemas.openxmlformats.org/officeDocument/2006/relationships/image" Target="../media/image46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Relationship Id="rId6" Type="http://schemas.openxmlformats.org/officeDocument/2006/relationships/hyperlink" Target="http://new.abb.com/about/integrity" TargetMode="External"/><Relationship Id="rId5" Type="http://schemas.openxmlformats.org/officeDocument/2006/relationships/hyperlink" Target="http://new.abb.com/br/empresa/integridade" TargetMode="External"/><Relationship Id="rId4" Type="http://schemas.openxmlformats.org/officeDocument/2006/relationships/image" Target="../media/image45.png"/><Relationship Id="rId9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1.jpeg"/><Relationship Id="rId5" Type="http://schemas.openxmlformats.org/officeDocument/2006/relationships/image" Target="../media/image2.png"/><Relationship Id="rId4" Type="http://schemas.openxmlformats.org/officeDocument/2006/relationships/image" Target="../media/image2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.pn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jpe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jpe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jpe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1.jpeg"/><Relationship Id="rId5" Type="http://schemas.openxmlformats.org/officeDocument/2006/relationships/image" Target="../media/image2.png"/><Relationship Id="rId4" Type="http://schemas.openxmlformats.org/officeDocument/2006/relationships/image" Target="../media/image30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tags" Target="../tags/tag11.xml"/><Relationship Id="rId7" Type="http://schemas.openxmlformats.org/officeDocument/2006/relationships/image" Target="../media/image3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36.jpe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35.jpe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3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F3FC5F4D-98EB-470C-9564-5527DFFBD1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F3FC5F4D-98EB-470C-9564-5527DFFBD1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FF553899-FE6E-41B4-A276-F2158F40F90A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pic>
        <p:nvPicPr>
          <p:cNvPr id="7" name="Picture Placeholder 8">
            <a:extLst>
              <a:ext uri="{FF2B5EF4-FFF2-40B4-BE49-F238E27FC236}">
                <a16:creationId xmlns:a16="http://schemas.microsoft.com/office/drawing/2014/main" xmlns="" id="{6BC77AA5-7DA5-402F-8275-1E06DE439BB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6" y="0"/>
            <a:ext cx="12192000" cy="68580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xmlns="" id="{8863ECBC-73A5-43BA-8B2B-DD9F5C2CCE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0519" y="5285617"/>
            <a:ext cx="10112148" cy="990828"/>
          </a:xfrm>
        </p:spPr>
        <p:txBody>
          <a:bodyPr/>
          <a:lstStyle/>
          <a:p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>
                <a:solidFill>
                  <a:schemeClr val="bg2"/>
                </a:solidFill>
              </a:rPr>
              <a:t>—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en-US" noProof="0" dirty="0"/>
              <a:t>ABB</a:t>
            </a:r>
            <a:r>
              <a:rPr lang="pl-PL" sz="5400" noProof="0" dirty="0"/>
              <a:t/>
            </a:r>
            <a:br>
              <a:rPr lang="pl-PL" sz="5400" noProof="0" dirty="0"/>
            </a:br>
            <a:r>
              <a:rPr lang="en-US" sz="1800" b="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Let’s write the future.</a:t>
            </a:r>
            <a:r>
              <a:rPr lang="pl-PL" sz="1800" b="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 </a:t>
            </a:r>
            <a:r>
              <a:rPr lang="en-US" sz="1800" b="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Together.</a:t>
            </a:r>
            <a:endParaRPr lang="en-US" sz="1800" b="0" noProof="0" dirty="0">
              <a:latin typeface="ABBvoice Light" panose="020D0403020503020204" pitchFamily="34" charset="0"/>
              <a:ea typeface="ABBvoice Light" panose="020D0403020503020204" pitchFamily="34" charset="0"/>
              <a:cs typeface="ABBvoice Light" panose="020D0403020503020204" pitchFamily="34" charset="0"/>
            </a:endParaRPr>
          </a:p>
        </p:txBody>
      </p:sp>
      <p:pic>
        <p:nvPicPr>
          <p:cNvPr id="8" name="Picture 19">
            <a:extLst>
              <a:ext uri="{FF2B5EF4-FFF2-40B4-BE49-F238E27FC236}">
                <a16:creationId xmlns:a16="http://schemas.microsoft.com/office/drawing/2014/main" xmlns="" id="{F529A083-B1AE-45A9-889E-805BAD7351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45664" y="6393976"/>
            <a:ext cx="507600" cy="194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ate Placeholder 3">
            <a:extLst>
              <a:ext uri="{FF2B5EF4-FFF2-40B4-BE49-F238E27FC236}">
                <a16:creationId xmlns:a16="http://schemas.microsoft.com/office/drawing/2014/main" xmlns="" id="{F8FFEFB2-8D5A-49BF-A9EE-F99246DA0F74}"/>
              </a:ext>
            </a:extLst>
          </p:cNvPr>
          <p:cNvSpPr txBox="1">
            <a:spLocks/>
          </p:cNvSpPr>
          <p:nvPr/>
        </p:nvSpPr>
        <p:spPr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A9A9A9"/>
                </a:solidFill>
                <a:latin typeface="ABBvoice"/>
                <a:ea typeface="ABBvoice"/>
                <a:cs typeface="ABBvoice"/>
              </a:rPr>
              <a:t>March 4, 2021</a:t>
            </a:r>
          </a:p>
        </p:txBody>
      </p:sp>
    </p:spTree>
    <p:extLst>
      <p:ext uri="{BB962C8B-B14F-4D97-AF65-F5344CB8AC3E}">
        <p14:creationId xmlns:p14="http://schemas.microsoft.com/office/powerpoint/2010/main" val="1448869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7D7A2920-E422-4FDE-AE52-843323468C1B}"/>
              </a:ext>
            </a:extLst>
          </p:cNvPr>
          <p:cNvSpPr/>
          <p:nvPr/>
        </p:nvSpPr>
        <p:spPr bwMode="gray">
          <a:xfrm>
            <a:off x="125799" y="6064355"/>
            <a:ext cx="12035721" cy="722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pt-BR" sz="1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pt-BR" dirty="0"/>
              <a:t>Nossos endereços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BB no Brasi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0F7C878-2F48-47C1-A60E-F6C764D931DE}" type="datetime4">
              <a:rPr lang="en-US">
                <a:solidFill>
                  <a:srgbClr val="A0A0A0"/>
                </a:solidFill>
                <a:latin typeface="ABBvoiceOffice"/>
                <a:ea typeface="ABBvoiceOffice"/>
                <a:cs typeface="ABBvoiceOffice"/>
              </a:rPr>
              <a:pPr/>
              <a:t>June 18, 2021</a:t>
            </a:fld>
            <a:endParaRPr lang="en-US" dirty="0">
              <a:solidFill>
                <a:srgbClr val="A0A0A0"/>
              </a:solidFill>
              <a:latin typeface="ABBvoiceOffice"/>
              <a:ea typeface="ABBvoiceOffice"/>
              <a:cs typeface="ABBvoiceOffice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A0A0A0"/>
                </a:solidFill>
                <a:latin typeface="ABBvoiceOffice"/>
                <a:ea typeface="ABBvoiceOffice"/>
                <a:cs typeface="ABBvoiceOffice"/>
              </a:rPr>
              <a:t>Slide </a:t>
            </a:r>
            <a:fld id="{619F89D8-7AE3-494A-97F3-03D680869632}" type="slidenum">
              <a:rPr lang="en-US">
                <a:solidFill>
                  <a:srgbClr val="A0A0A0"/>
                </a:solidFill>
                <a:latin typeface="ABBvoiceOffice"/>
                <a:ea typeface="ABBvoiceOffice"/>
                <a:cs typeface="ABBvoiceOffice"/>
              </a:rPr>
              <a:pPr/>
              <a:t>10</a:t>
            </a:fld>
            <a:endParaRPr lang="en-US" dirty="0">
              <a:solidFill>
                <a:srgbClr val="A0A0A0"/>
              </a:solidFill>
              <a:latin typeface="ABBvoiceOffice"/>
              <a:ea typeface="ABBvoiceOffice"/>
              <a:cs typeface="ABBvoiceOffice"/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xmlns="" id="{1737E16E-F3A9-4F3E-8E4E-477CD8B72B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02198" y="2109985"/>
            <a:ext cx="255600" cy="255600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A982503A-5DD8-43D7-9E56-A1E8C8518EF8}"/>
              </a:ext>
            </a:extLst>
          </p:cNvPr>
          <p:cNvGrpSpPr/>
          <p:nvPr/>
        </p:nvGrpSpPr>
        <p:grpSpPr>
          <a:xfrm>
            <a:off x="3639385" y="98993"/>
            <a:ext cx="7036210" cy="6160031"/>
            <a:chOff x="3639385" y="98993"/>
            <a:chExt cx="7036210" cy="6160031"/>
          </a:xfrm>
        </p:grpSpPr>
        <p:pic>
          <p:nvPicPr>
            <p:cNvPr id="389" name="Picture 389" descr="A picture containing text, map&#10;&#10;Description generated with very high confidence">
              <a:extLst>
                <a:ext uri="{FF2B5EF4-FFF2-40B4-BE49-F238E27FC236}">
                  <a16:creationId xmlns:a16="http://schemas.microsoft.com/office/drawing/2014/main" xmlns="" id="{C251A80C-D80D-4CEE-80D3-FE1DBFDFEE6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639385" y="98993"/>
              <a:ext cx="7036210" cy="6160031"/>
            </a:xfrm>
            <a:prstGeom prst="rect">
              <a:avLst/>
            </a:prstGeom>
          </p:spPr>
        </p:pic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xmlns="" id="{C7C76FD7-BF4A-4C3D-B666-6517A07CBA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7806850" y="4327554"/>
              <a:ext cx="183600" cy="183600"/>
            </a:xfrm>
            <a:prstGeom prst="rect">
              <a:avLst/>
            </a:prstGeom>
          </p:spPr>
        </p:pic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xmlns="" id="{2B514521-81F4-48B2-A8D0-26EE8774B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7592297" y="4447526"/>
              <a:ext cx="183600" cy="183600"/>
            </a:xfrm>
            <a:prstGeom prst="rect">
              <a:avLst/>
            </a:prstGeom>
          </p:spPr>
        </p:pic>
        <p:pic>
          <p:nvPicPr>
            <p:cNvPr id="22" name="Graphic 21">
              <a:extLst>
                <a:ext uri="{FF2B5EF4-FFF2-40B4-BE49-F238E27FC236}">
                  <a16:creationId xmlns:a16="http://schemas.microsoft.com/office/drawing/2014/main" xmlns="" id="{994EA608-82BB-4CA7-8080-F439B131CE6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7701753" y="4545519"/>
              <a:ext cx="255600" cy="255600"/>
            </a:xfrm>
            <a:prstGeom prst="rect">
              <a:avLst/>
            </a:prstGeom>
          </p:spPr>
        </p:pic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xmlns="" id="{A11C2017-6BED-45F4-B765-DC0548D182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7936988" y="4637484"/>
              <a:ext cx="198000" cy="198000"/>
            </a:xfrm>
            <a:prstGeom prst="rect">
              <a:avLst/>
            </a:prstGeom>
          </p:spPr>
        </p:pic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xmlns="" id="{FC35BABA-8718-4602-8DA1-6ED351FA661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7076293" y="1586644"/>
              <a:ext cx="198000" cy="198000"/>
            </a:xfrm>
            <a:prstGeom prst="rect">
              <a:avLst/>
            </a:prstGeom>
          </p:spPr>
        </p:pic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xmlns="" id="{DB34E291-4B31-4CCE-964D-FC8C35AD4F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8830782" y="3918685"/>
              <a:ext cx="198000" cy="198000"/>
            </a:xfrm>
            <a:prstGeom prst="rect">
              <a:avLst/>
            </a:prstGeom>
          </p:spPr>
        </p:pic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xmlns="" id="{C8DCC447-22CB-41B7-9F61-15F23BD5F81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7359515" y="4697077"/>
              <a:ext cx="198000" cy="198000"/>
            </a:xfrm>
            <a:prstGeom prst="rect">
              <a:avLst/>
            </a:prstGeom>
          </p:spPr>
        </p:pic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xmlns="" id="{78F320E3-DAA7-48B8-BB77-5FE4BC7BDE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188388" y="3923579"/>
              <a:ext cx="183600" cy="183600"/>
            </a:xfrm>
            <a:prstGeom prst="rect">
              <a:avLst/>
            </a:prstGeom>
          </p:spPr>
        </p:pic>
      </p:grpSp>
      <p:pic>
        <p:nvPicPr>
          <p:cNvPr id="33" name="Graphic 32">
            <a:extLst>
              <a:ext uri="{FF2B5EF4-FFF2-40B4-BE49-F238E27FC236}">
                <a16:creationId xmlns:a16="http://schemas.microsoft.com/office/drawing/2014/main" xmlns="" id="{E28BBAB1-8CBD-41C9-929A-A27DA437A6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02198" y="1634385"/>
            <a:ext cx="255600" cy="255600"/>
          </a:xfrm>
          <a:prstGeom prst="rect">
            <a:avLst/>
          </a:prstGeom>
        </p:spPr>
      </p:pic>
      <p:sp>
        <p:nvSpPr>
          <p:cNvPr id="34" name="Text Placeholder 1">
            <a:extLst>
              <a:ext uri="{FF2B5EF4-FFF2-40B4-BE49-F238E27FC236}">
                <a16:creationId xmlns:a16="http://schemas.microsoft.com/office/drawing/2014/main" xmlns="" id="{292B037E-8FDB-44C6-9BAE-3FEDF73BBD87}"/>
              </a:ext>
            </a:extLst>
          </p:cNvPr>
          <p:cNvSpPr txBox="1">
            <a:spLocks/>
          </p:cNvSpPr>
          <p:nvPr/>
        </p:nvSpPr>
        <p:spPr bwMode="gray">
          <a:xfrm>
            <a:off x="8548793" y="5114377"/>
            <a:ext cx="3500967" cy="1106547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altLang="en-US" dirty="0"/>
              <a:t>   Escritórios Regiona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en-US" dirty="0"/>
              <a:t>Vitória/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en-US" dirty="0"/>
              <a:t>Curitiba/PR</a:t>
            </a:r>
            <a:br>
              <a:rPr lang="pt-BR" altLang="en-US" dirty="0"/>
            </a:br>
            <a:endParaRPr lang="pt-BR" altLang="en-US" dirty="0"/>
          </a:p>
          <a:p>
            <a:r>
              <a:rPr lang="pt-BR" altLang="en-US" dirty="0"/>
              <a:t>   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xmlns="" id="{3469A8E9-43CD-4DA1-AEE4-F319A1B9D4A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873322" y="3618468"/>
            <a:ext cx="198000" cy="1980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xmlns="" id="{11C1C242-DED7-43C7-B7AE-BCC13889A6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894416" y="4504902"/>
            <a:ext cx="198000" cy="198000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xmlns="" id="{5EB9BE85-0D24-45D1-8182-32DC23BC82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8532914" y="5199545"/>
            <a:ext cx="198000" cy="198000"/>
          </a:xfrm>
          <a:prstGeom prst="rect">
            <a:avLst/>
          </a:prstGeom>
        </p:spPr>
      </p:pic>
      <p:sp>
        <p:nvSpPr>
          <p:cNvPr id="31" name="Text Placeholder 1">
            <a:extLst>
              <a:ext uri="{FF2B5EF4-FFF2-40B4-BE49-F238E27FC236}">
                <a16:creationId xmlns:a16="http://schemas.microsoft.com/office/drawing/2014/main" xmlns="" id="{CD2C9001-5B2D-4B66-97AA-C4682BAB06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27033" y="1669400"/>
            <a:ext cx="3771337" cy="4096868"/>
          </a:xfrm>
        </p:spPr>
        <p:txBody>
          <a:bodyPr/>
          <a:lstStyle/>
          <a:p>
            <a:r>
              <a:rPr lang="pt-BR" altLang="en-US" dirty="0"/>
              <a:t>   Sede: São Paulo/SP </a:t>
            </a:r>
            <a:br>
              <a:rPr lang="pt-BR" altLang="en-US" dirty="0"/>
            </a:br>
            <a:endParaRPr lang="pt-BR" altLang="en-US" dirty="0"/>
          </a:p>
          <a:p>
            <a:r>
              <a:rPr lang="pt-BR" altLang="en-US" dirty="0"/>
              <a:t>   Unidades fabri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en-US" dirty="0"/>
              <a:t>Guarulhos/S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en-US" dirty="0"/>
              <a:t>Sorocaba/S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en-US" dirty="0"/>
              <a:t>Contagem/MG</a:t>
            </a:r>
          </a:p>
          <a:p>
            <a:endParaRPr lang="pt-BR" altLang="en-US" dirty="0"/>
          </a:p>
          <a:p>
            <a:r>
              <a:rPr lang="pt-BR" altLang="en-US" dirty="0"/>
              <a:t>   Oficin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en-US" dirty="0"/>
              <a:t>Rio de Janeiro/RJ</a:t>
            </a:r>
          </a:p>
          <a:p>
            <a:endParaRPr lang="pt-BR" altLang="en-US" dirty="0"/>
          </a:p>
          <a:p>
            <a:r>
              <a:rPr lang="pt-BR" altLang="en-US" dirty="0"/>
              <a:t>   Centro de serviç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altLang="en-US" dirty="0"/>
              <a:t>Parauapebas/PA</a:t>
            </a:r>
          </a:p>
          <a:p>
            <a:endParaRPr lang="pt-BR" altLang="en-US" dirty="0"/>
          </a:p>
          <a:p>
            <a:endParaRPr lang="pt-BR" altLang="en-US" dirty="0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xmlns="" id="{3DCA758F-117D-49DC-BC6F-B1B5BFB4BB5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8608136" y="4365324"/>
            <a:ext cx="198000" cy="198000"/>
          </a:xfrm>
          <a:prstGeom prst="rect">
            <a:avLst/>
          </a:prstGeom>
        </p:spPr>
      </p:pic>
      <p:sp>
        <p:nvSpPr>
          <p:cNvPr id="6" name="Elipse 5">
            <a:extLst>
              <a:ext uri="{FF2B5EF4-FFF2-40B4-BE49-F238E27FC236}">
                <a16:creationId xmlns:a16="http://schemas.microsoft.com/office/drawing/2014/main" xmlns="" id="{DEA4A471-D4BF-4CAD-ADCB-EAA282539281}"/>
              </a:ext>
            </a:extLst>
          </p:cNvPr>
          <p:cNvSpPr/>
          <p:nvPr/>
        </p:nvSpPr>
        <p:spPr bwMode="gray">
          <a:xfrm>
            <a:off x="10150903" y="466120"/>
            <a:ext cx="1756881" cy="1643865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 err="1"/>
          </a:p>
        </p:txBody>
      </p:sp>
      <p:sp>
        <p:nvSpPr>
          <p:cNvPr id="27" name="TextBox 18">
            <a:extLst>
              <a:ext uri="{FF2B5EF4-FFF2-40B4-BE49-F238E27FC236}">
                <a16:creationId xmlns:a16="http://schemas.microsoft.com/office/drawing/2014/main" xmlns="" id="{2EB787D3-B970-4578-87DC-0850883979E5}"/>
              </a:ext>
            </a:extLst>
          </p:cNvPr>
          <p:cNvSpPr txBox="1"/>
          <p:nvPr/>
        </p:nvSpPr>
        <p:spPr bwMode="gray">
          <a:xfrm>
            <a:off x="9828058" y="994052"/>
            <a:ext cx="2402569" cy="64033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rtl="0"/>
            <a:r>
              <a:rPr lang="pt-BR" sz="1600" b="1" dirty="0">
                <a:solidFill>
                  <a:schemeClr val="bg1"/>
                </a:solidFill>
              </a:rPr>
              <a:t>~ 1.700</a:t>
            </a:r>
            <a:br>
              <a:rPr lang="pt-BR" sz="1600" b="1" dirty="0">
                <a:solidFill>
                  <a:schemeClr val="bg1"/>
                </a:solidFill>
              </a:rPr>
            </a:br>
            <a:r>
              <a:rPr lang="pt-BR" sz="1600" b="1" dirty="0">
                <a:solidFill>
                  <a:schemeClr val="bg1"/>
                </a:solidFill>
              </a:rPr>
              <a:t>colaboradores</a:t>
            </a:r>
            <a:endParaRPr lang="pt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493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C868E23-028A-425F-AEB1-4E6FA2002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pt" noProof="0"/>
              <a:t>Valores ABB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AF43AB7-F660-4C77-B7E0-38C3D7A564ED}"/>
              </a:ext>
            </a:extLst>
          </p:cNvPr>
          <p:cNvSpPr/>
          <p:nvPr/>
        </p:nvSpPr>
        <p:spPr bwMode="gray">
          <a:xfrm>
            <a:off x="0" y="5915025"/>
            <a:ext cx="12192000" cy="942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4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5515E96D-82C8-4AD1-8B7F-BB1705426E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064180" cy="6858000"/>
          </a:xfrm>
          <a:prstGeom prst="rect">
            <a:avLst/>
          </a:prstGeom>
        </p:spPr>
      </p:pic>
      <p:sp>
        <p:nvSpPr>
          <p:cNvPr id="27" name="Content Placeholder 3">
            <a:extLst>
              <a:ext uri="{FF2B5EF4-FFF2-40B4-BE49-F238E27FC236}">
                <a16:creationId xmlns:a16="http://schemas.microsoft.com/office/drawing/2014/main" xmlns="" id="{70198F7F-D23C-4867-B762-75037CCB3BE4}"/>
              </a:ext>
            </a:extLst>
          </p:cNvPr>
          <p:cNvSpPr txBox="1">
            <a:spLocks/>
          </p:cNvSpPr>
          <p:nvPr/>
        </p:nvSpPr>
        <p:spPr bwMode="gray">
          <a:xfrm>
            <a:off x="6695943" y="2331195"/>
            <a:ext cx="5157321" cy="3793380"/>
          </a:xfrm>
          <a:prstGeom prst="rect">
            <a:avLst/>
          </a:prstGeom>
        </p:spPr>
        <p:txBody>
          <a:bodyPr lIns="0" tIns="0" rIns="0" bIns="0" rtlCol="0"/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>
              <a:spcBef>
                <a:spcPts val="300"/>
              </a:spcBef>
            </a:pPr>
            <a:r>
              <a:rPr lang="pt" sz="3600" b="1">
                <a:solidFill>
                  <a:srgbClr val="FF0000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—</a:t>
            </a:r>
            <a:endParaRPr lang="pl-PL" sz="3600" b="1">
              <a:solidFill>
                <a:srgbClr val="FF0000"/>
              </a:solidFill>
            </a:endParaRPr>
          </a:p>
          <a:p>
            <a:pPr rtl="0">
              <a:spcBef>
                <a:spcPts val="300"/>
              </a:spcBef>
            </a:pPr>
            <a:r>
              <a:rPr lang="pt" sz="3600" b="1"/>
              <a:t>Valores ABB</a:t>
            </a:r>
          </a:p>
          <a:p>
            <a:pPr>
              <a:spcBef>
                <a:spcPts val="300"/>
              </a:spcBef>
            </a:pPr>
            <a:r>
              <a:rPr lang="pl-PL" sz="36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Courage</a:t>
            </a:r>
            <a:r>
              <a:rPr lang="pt-BR" sz="3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 </a:t>
            </a:r>
            <a:r>
              <a:rPr lang="pt-BR" sz="24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(</a:t>
            </a:r>
            <a:r>
              <a:rPr lang="pt"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Coragem)</a:t>
            </a:r>
            <a:endParaRPr lang="pl-PL" sz="2400">
              <a:latin typeface="ABBvoice Light" panose="020D0403020503020204" pitchFamily="34" charset="0"/>
              <a:ea typeface="ABBvoice Light" panose="020D0403020503020204" pitchFamily="34" charset="0"/>
              <a:cs typeface="ABBvoice Light" panose="020D0403020503020204" pitchFamily="34" charset="0"/>
            </a:endParaRPr>
          </a:p>
          <a:p>
            <a:pPr>
              <a:spcBef>
                <a:spcPts val="300"/>
              </a:spcBef>
            </a:pPr>
            <a:r>
              <a:rPr lang="pl-PL" sz="36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Care</a:t>
            </a:r>
            <a:r>
              <a:rPr lang="pt-BR" sz="3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 </a:t>
            </a:r>
            <a:r>
              <a:rPr lang="pt-BR" sz="24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(</a:t>
            </a:r>
            <a:r>
              <a:rPr lang="pt"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Cuidado)</a:t>
            </a:r>
            <a:endParaRPr lang="pl-PL" sz="2400">
              <a:latin typeface="ABBvoice Light" panose="020D0403020503020204" pitchFamily="34" charset="0"/>
              <a:ea typeface="ABBvoice Light" panose="020D0403020503020204" pitchFamily="34" charset="0"/>
              <a:cs typeface="ABBvoice Light" panose="020D0403020503020204" pitchFamily="34" charset="0"/>
            </a:endParaRPr>
          </a:p>
          <a:p>
            <a:pPr>
              <a:spcBef>
                <a:spcPts val="300"/>
              </a:spcBef>
            </a:pPr>
            <a:r>
              <a:rPr lang="pl-PL" sz="36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Curiosity</a:t>
            </a:r>
            <a:r>
              <a:rPr lang="pt-BR" sz="3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 </a:t>
            </a:r>
            <a:r>
              <a:rPr lang="pt-BR" sz="24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(</a:t>
            </a:r>
            <a:r>
              <a:rPr lang="pt"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Curiosidade</a:t>
            </a:r>
            <a:r>
              <a:rPr lang="pt-BR" sz="24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)</a:t>
            </a:r>
            <a:endParaRPr lang="pl-PL" sz="2400">
              <a:latin typeface="ABBvoice Light" panose="020D0403020503020204" pitchFamily="34" charset="0"/>
              <a:ea typeface="ABBvoice Light" panose="020D0403020503020204" pitchFamily="34" charset="0"/>
              <a:cs typeface="ABBvoice Light" panose="020D0403020503020204" pitchFamily="34" charset="0"/>
            </a:endParaRPr>
          </a:p>
          <a:p>
            <a:pPr>
              <a:spcBef>
                <a:spcPts val="300"/>
              </a:spcBef>
            </a:pPr>
            <a:r>
              <a:rPr lang="pl-PL" sz="36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Collaboration</a:t>
            </a:r>
            <a:r>
              <a:rPr lang="pt-BR" sz="3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 </a:t>
            </a:r>
            <a:r>
              <a:rPr lang="pt-BR" sz="24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(</a:t>
            </a:r>
            <a:r>
              <a:rPr lang="pt"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Colaboração</a:t>
            </a:r>
            <a:r>
              <a:rPr lang="en-US" sz="24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)</a:t>
            </a:r>
          </a:p>
          <a:p>
            <a:pPr rtl="0">
              <a:spcBef>
                <a:spcPts val="300"/>
              </a:spcBef>
            </a:pPr>
            <a:r>
              <a:rPr lang="pt" sz="36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 </a:t>
            </a:r>
          </a:p>
        </p:txBody>
      </p:sp>
      <p:pic>
        <p:nvPicPr>
          <p:cNvPr id="6" name="Picture 19">
            <a:extLst>
              <a:ext uri="{FF2B5EF4-FFF2-40B4-BE49-F238E27FC236}">
                <a16:creationId xmlns:a16="http://schemas.microsoft.com/office/drawing/2014/main" xmlns="" id="{C3119515-26C6-4CDF-85AB-00F84465A4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45664" y="6393976"/>
            <a:ext cx="507600" cy="194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978576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Word"/>
      </p:transition>
    </mc:Choice>
    <mc:Fallback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xmlns="" id="{B57B1F0A-8B31-4166-9168-5760C236F00E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444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xmlns="" id="{E58D9A1A-0176-4256-BC59-682E55D31F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pt"/>
              <a:t> </a:t>
            </a:r>
            <a:endParaRPr lang="en-US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xmlns="" id="{CF86AF57-F7A7-427B-8C92-5324145429D8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 rtlCol="0"/>
          <a:lstStyle/>
          <a:p>
            <a:pPr rtl="0"/>
            <a:r>
              <a:rPr lang="pt"/>
              <a:t> </a:t>
            </a:r>
            <a:endParaRPr lang="en-US" dirty="0"/>
          </a:p>
        </p:txBody>
      </p:sp>
      <p:pic>
        <p:nvPicPr>
          <p:cNvPr id="10" name="Picture 19">
            <a:extLst>
              <a:ext uri="{FF2B5EF4-FFF2-40B4-BE49-F238E27FC236}">
                <a16:creationId xmlns:a16="http://schemas.microsoft.com/office/drawing/2014/main" xmlns="" id="{53681A4E-FD01-436C-9725-844FD03EDA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45664" y="6393976"/>
            <a:ext cx="507600" cy="194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95539FED-C890-4D9A-B5D9-E24437017315}"/>
              </a:ext>
            </a:extLst>
          </p:cNvPr>
          <p:cNvSpPr/>
          <p:nvPr/>
        </p:nvSpPr>
        <p:spPr bwMode="gray">
          <a:xfrm>
            <a:off x="11010900" y="254000"/>
            <a:ext cx="977900" cy="42141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400" dirty="0"/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xmlns="" id="{FC8F7DAE-68A9-4B36-9613-139D36D99087}"/>
              </a:ext>
            </a:extLst>
          </p:cNvPr>
          <p:cNvSpPr txBox="1">
            <a:spLocks/>
          </p:cNvSpPr>
          <p:nvPr/>
        </p:nvSpPr>
        <p:spPr bwMode="gray">
          <a:xfrm>
            <a:off x="203200" y="282141"/>
            <a:ext cx="3481426" cy="39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91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As nossas priorida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4863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 bwMode="gray">
          <a:xfrm>
            <a:off x="336550" y="1842760"/>
            <a:ext cx="6242050" cy="4072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3264" y="682313"/>
            <a:ext cx="2999361" cy="396000"/>
          </a:xfrm>
        </p:spPr>
        <p:txBody>
          <a:bodyPr/>
          <a:lstStyle/>
          <a:p>
            <a:r>
              <a:rPr lang="pt-BR" dirty="0"/>
              <a:t>Integridade na ABB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FAB2352-921F-4DD8-A99A-A1474F6943FF}" type="datetime4">
              <a:rPr lang="en-US" smtClean="0"/>
              <a:t>June 18, 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8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227" y="4345172"/>
            <a:ext cx="1334353" cy="1476193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446314" y="1885563"/>
            <a:ext cx="592339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1400" dirty="0"/>
              <a:t>A ABB sempre teve Integridade como um dos seus valores. Seu programa mundial foi reformulado em 2004 e o compromisso com Ética e Integridade vem sendo reconhecido nacional e internacionalmente</a:t>
            </a:r>
            <a:r>
              <a:rPr lang="pt-BR" dirty="0"/>
              <a:t>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18067" y="1842760"/>
            <a:ext cx="39205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6726517" y="3344025"/>
            <a:ext cx="5207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SzPct val="100000"/>
              <a:buFont typeface="Arial" panose="020B0604020202020204" pitchFamily="34" charset="0"/>
              <a:buChar char="•"/>
            </a:pPr>
            <a:r>
              <a:rPr lang="pt-BR" sz="1400" dirty="0"/>
              <a:t>A ABB está comprometida em promover uma cultura onde Integridade está em tudo o que fazemos</a:t>
            </a:r>
            <a:endParaRPr lang="en-US" sz="1400" dirty="0"/>
          </a:p>
        </p:txBody>
      </p:sp>
      <p:sp>
        <p:nvSpPr>
          <p:cNvPr id="22" name="Rectangle 21"/>
          <p:cNvSpPr/>
          <p:nvPr/>
        </p:nvSpPr>
        <p:spPr>
          <a:xfrm>
            <a:off x="6726517" y="2517087"/>
            <a:ext cx="5207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pt-BR" sz="1400" dirty="0"/>
              <a:t>Na ABB, o “como fazer” importa tanto quanto realizar nossos objetivos </a:t>
            </a:r>
            <a:endParaRPr lang="en-US" sz="1400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7842" y="4343948"/>
            <a:ext cx="1271813" cy="1432909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99627" y="4352045"/>
            <a:ext cx="1503529" cy="1476193"/>
          </a:xfrm>
          <a:prstGeom prst="rect">
            <a:avLst/>
          </a:prstGeom>
        </p:spPr>
      </p:pic>
      <p:sp>
        <p:nvSpPr>
          <p:cNvPr id="48" name="Rectangle 47"/>
          <p:cNvSpPr/>
          <p:nvPr/>
        </p:nvSpPr>
        <p:spPr>
          <a:xfrm>
            <a:off x="6726517" y="1690149"/>
            <a:ext cx="5207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pt-BR" sz="1400" b="1" dirty="0"/>
              <a:t>Integridade &amp; Segurança </a:t>
            </a:r>
            <a:r>
              <a:rPr lang="pt-BR" sz="1400" dirty="0"/>
              <a:t>são os valores fundamentais da nossa empresa </a:t>
            </a:r>
            <a:endParaRPr lang="en-US" sz="1400" dirty="0"/>
          </a:p>
        </p:txBody>
      </p:sp>
      <p:sp>
        <p:nvSpPr>
          <p:cNvPr id="49" name="Subtitle 7"/>
          <p:cNvSpPr>
            <a:spLocks noGrp="1"/>
          </p:cNvSpPr>
          <p:nvPr>
            <p:ph type="subTitle" idx="13"/>
          </p:nvPr>
        </p:nvSpPr>
        <p:spPr>
          <a:xfrm>
            <a:off x="333264" y="1085213"/>
            <a:ext cx="3375136" cy="504000"/>
          </a:xfrm>
        </p:spPr>
        <p:txBody>
          <a:bodyPr/>
          <a:lstStyle/>
          <a:p>
            <a:r>
              <a:rPr lang="en-US" dirty="0"/>
              <a:t>Don’t look the other way</a:t>
            </a:r>
          </a:p>
        </p:txBody>
      </p:sp>
      <p:sp>
        <p:nvSpPr>
          <p:cNvPr id="20" name="Rectangle 19"/>
          <p:cNvSpPr/>
          <p:nvPr/>
        </p:nvSpPr>
        <p:spPr>
          <a:xfrm>
            <a:off x="6726517" y="4158542"/>
            <a:ext cx="5207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SzPct val="100000"/>
              <a:buFont typeface="Arial" panose="020B0604020202020204" pitchFamily="34" charset="0"/>
              <a:buChar char="•"/>
            </a:pPr>
            <a:r>
              <a:rPr lang="pt-BR" sz="1400" dirty="0"/>
              <a:t>Estamos certos que, através da prática de um programa de Integridade robusto, contribuímos para um futuro melhor</a:t>
            </a:r>
            <a:endParaRPr lang="en-US" sz="1400" dirty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7020358" y="5218542"/>
            <a:ext cx="5359400" cy="482600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r>
              <a:rPr lang="pt-BR" sz="1400" b="1" dirty="0"/>
              <a:t>Saiba mais em: </a:t>
            </a:r>
          </a:p>
          <a:p>
            <a:r>
              <a:rPr lang="pt-BR" sz="1400" b="1" dirty="0">
                <a:hlinkClick r:id="rId5"/>
              </a:rPr>
              <a:t>http://new.abb.com/br/empresa/integridade</a:t>
            </a:r>
            <a:endParaRPr lang="pt-BR" sz="1400" b="1" dirty="0"/>
          </a:p>
          <a:p>
            <a:r>
              <a:rPr lang="pt-BR" sz="1400" b="1" dirty="0">
                <a:solidFill>
                  <a:srgbClr val="C00000"/>
                </a:solidFill>
                <a:hlinkClick r:id="rId6"/>
              </a:rPr>
              <a:t>http://new.abb.com/about/integrity</a:t>
            </a:r>
            <a:endParaRPr lang="pt-BR" sz="1400" b="1" dirty="0">
              <a:solidFill>
                <a:srgbClr val="C00000"/>
              </a:solidFill>
            </a:endParaRPr>
          </a:p>
          <a:p>
            <a:endParaRPr lang="pt-BR" sz="1400" b="1" dirty="0"/>
          </a:p>
          <a:p>
            <a:r>
              <a:rPr lang="pt-BR" sz="1400" b="1" dirty="0"/>
              <a:t> </a:t>
            </a:r>
          </a:p>
        </p:txBody>
      </p:sp>
      <p:pic>
        <p:nvPicPr>
          <p:cNvPr id="23" name="Content Placeholder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32510" y="2909124"/>
            <a:ext cx="1326752" cy="1305323"/>
          </a:xfrm>
          <a:prstGeom prst="rect">
            <a:avLst/>
          </a:prstGeom>
        </p:spPr>
      </p:pic>
      <p:pic>
        <p:nvPicPr>
          <p:cNvPr id="24" name="Content Placeholder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22890" y="2884162"/>
            <a:ext cx="1308800" cy="1330284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6DC2330B-9505-4A71-A5EB-9CE2EC6F201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93524" y="4340887"/>
            <a:ext cx="1285044" cy="1480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139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onteúdo 1">
            <a:extLst>
              <a:ext uri="{FF2B5EF4-FFF2-40B4-BE49-F238E27FC236}">
                <a16:creationId xmlns:a16="http://schemas.microsoft.com/office/drawing/2014/main" xmlns="" id="{8D700863-6BBD-42A8-B16C-F32782F6CEDA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32367" y="1931198"/>
            <a:ext cx="11246608" cy="217846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800" dirty="0"/>
              <a:t> </a:t>
            </a:r>
            <a:r>
              <a:rPr lang="pt-BR" sz="1600" b="1" dirty="0"/>
              <a:t>Modelo open space </a:t>
            </a:r>
            <a:r>
              <a:rPr lang="pt-BR" sz="1600" dirty="0"/>
              <a:t>com a possibilidade de realização do Home-Office 1 vez por seman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 Estrutura ainda conservadora para o trabalho remoto acima de 2 dia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 As relações humanas “presenciais” eram consideradas um importante vínculo de confianç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 err="1"/>
              <a:t>Infra-estrutura</a:t>
            </a:r>
            <a:r>
              <a:rPr lang="pt-BR" sz="1600" dirty="0"/>
              <a:t> base foi ampliada e preparada em virtude de greve dos caminhoneiro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Modelo tradicional de trabalho.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xmlns="" id="{CD18B734-659C-494F-B9EA-81CF1A0CDE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Modelo de Trabalho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856EEC24-3F53-4E35-86F4-A97AFE5FE13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ubtítulo 4">
            <a:extLst>
              <a:ext uri="{FF2B5EF4-FFF2-40B4-BE49-F238E27FC236}">
                <a16:creationId xmlns:a16="http://schemas.microsoft.com/office/drawing/2014/main" xmlns="" id="{314EDCD3-E903-4EC0-B4E9-0EE6E4FAFA9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pt-BR" dirty="0" err="1"/>
              <a:t>Pré</a:t>
            </a:r>
            <a:r>
              <a:rPr lang="pt-BR" dirty="0"/>
              <a:t>-Pandemia</a:t>
            </a:r>
          </a:p>
        </p:txBody>
      </p:sp>
      <p:pic>
        <p:nvPicPr>
          <p:cNvPr id="6" name="Picture 12">
            <a:extLst>
              <a:ext uri="{FF2B5EF4-FFF2-40B4-BE49-F238E27FC236}">
                <a16:creationId xmlns:a16="http://schemas.microsoft.com/office/drawing/2014/main" xmlns="" id="{D603D659-3B17-478D-8388-70343144E3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607" b="47266"/>
          <a:stretch/>
        </p:blipFill>
        <p:spPr>
          <a:xfrm>
            <a:off x="1945097" y="3965104"/>
            <a:ext cx="8296333" cy="1578468"/>
          </a:xfrm>
          <a:prstGeom prst="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</p:spTree>
    <p:extLst>
      <p:ext uri="{BB962C8B-B14F-4D97-AF65-F5344CB8AC3E}">
        <p14:creationId xmlns:p14="http://schemas.microsoft.com/office/powerpoint/2010/main" val="2872334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onteúdo 1">
            <a:extLst>
              <a:ext uri="{FF2B5EF4-FFF2-40B4-BE49-F238E27FC236}">
                <a16:creationId xmlns:a16="http://schemas.microsoft.com/office/drawing/2014/main" xmlns="" id="{0161ECF5-1F9F-4E21-A374-ADD851FCEE2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434071" y="1596112"/>
            <a:ext cx="5425563" cy="433208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pt-BR" sz="1500" b="1" dirty="0">
                <a:solidFill>
                  <a:schemeClr val="tx2"/>
                </a:solidFill>
              </a:rPr>
              <a:t>Conectados@Hom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/>
              <a:t>Como se </a:t>
            </a:r>
            <a:r>
              <a:rPr lang="pt-BR" sz="1600" b="1" dirty="0"/>
              <a:t>organizar e produzir no novo normal?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/>
              <a:t>Guia Home-Office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/>
              <a:t>Disponibilização de </a:t>
            </a:r>
            <a:r>
              <a:rPr lang="pt-BR" sz="1600" b="1" dirty="0"/>
              <a:t>cadeiras e monitor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/>
              <a:t>Liderança virtua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b="1" dirty="0"/>
              <a:t>Saúde Emocional </a:t>
            </a:r>
            <a:r>
              <a:rPr lang="pt-BR" sz="1600" dirty="0"/>
              <a:t>em tempos de pandemia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/>
              <a:t>Saúde Emocional: </a:t>
            </a:r>
            <a:r>
              <a:rPr lang="pt-BR" sz="1600" b="1" dirty="0"/>
              <a:t>Como ajudar os filhos?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/>
              <a:t>Protocolo </a:t>
            </a:r>
            <a:r>
              <a:rPr lang="pt-BR" sz="1600" b="1" dirty="0"/>
              <a:t>doméstico de prevenção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b="1" dirty="0"/>
              <a:t>Treinamento gratuitos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xmlns="" id="{04F4B365-3EB0-4DCA-9E68-10DFEDC8C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Modelo de Trabalho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202C0E46-C443-4676-9682-4F4097B8E85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ubtítulo 4">
            <a:extLst>
              <a:ext uri="{FF2B5EF4-FFF2-40B4-BE49-F238E27FC236}">
                <a16:creationId xmlns:a16="http://schemas.microsoft.com/office/drawing/2014/main" xmlns="" id="{9A792CD8-CAD2-4D16-992F-01DAA13B0F3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pt-BR" dirty="0"/>
              <a:t>Durante a Pandemia – </a:t>
            </a:r>
            <a:r>
              <a:rPr lang="pt-BR" b="1" dirty="0">
                <a:solidFill>
                  <a:schemeClr val="tx2"/>
                </a:solidFill>
              </a:rPr>
              <a:t>Construção Comitê de Crise</a:t>
            </a:r>
          </a:p>
        </p:txBody>
      </p:sp>
      <p:pic>
        <p:nvPicPr>
          <p:cNvPr id="7" name="Picture Placeholder 8">
            <a:extLst>
              <a:ext uri="{FF2B5EF4-FFF2-40B4-BE49-F238E27FC236}">
                <a16:creationId xmlns:a16="http://schemas.microsoft.com/office/drawing/2014/main" xmlns="" id="{36C69FCC-3F4F-4B1F-91DD-A0FB92E5E68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144"/>
            <a:ext cx="12192004" cy="6858000"/>
          </a:xfrm>
          <a:prstGeom prst="rect">
            <a:avLst/>
          </a:prstGeom>
        </p:spPr>
      </p:pic>
      <p:sp>
        <p:nvSpPr>
          <p:cNvPr id="8" name="Rectangle 33">
            <a:extLst>
              <a:ext uri="{FF2B5EF4-FFF2-40B4-BE49-F238E27FC236}">
                <a16:creationId xmlns:a16="http://schemas.microsoft.com/office/drawing/2014/main" xmlns="" id="{757F79CF-BE30-467A-B94F-6C225E57B16E}"/>
              </a:ext>
            </a:extLst>
          </p:cNvPr>
          <p:cNvSpPr/>
          <p:nvPr/>
        </p:nvSpPr>
        <p:spPr bwMode="auto">
          <a:xfrm>
            <a:off x="332366" y="1589213"/>
            <a:ext cx="5763633" cy="4462266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45720" tIns="45720" rIns="45720" bIns="45720" numCol="1" rtlCol="0" anchor="t" anchorCtr="0" compatLnSpc="1">
            <a:prstTxWarp prst="textNoShape">
              <a:avLst/>
            </a:prstTxWarp>
          </a:bodyPr>
          <a:lstStyle/>
          <a:p>
            <a:pPr marL="117475" indent="-117475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9" name="TextBox 58">
            <a:extLst>
              <a:ext uri="{FF2B5EF4-FFF2-40B4-BE49-F238E27FC236}">
                <a16:creationId xmlns:a16="http://schemas.microsoft.com/office/drawing/2014/main" xmlns="" id="{A2CA25D5-8126-4A7E-8CFE-65FB9DD39DF2}"/>
              </a:ext>
            </a:extLst>
          </p:cNvPr>
          <p:cNvSpPr txBox="1"/>
          <p:nvPr/>
        </p:nvSpPr>
        <p:spPr>
          <a:xfrm>
            <a:off x="328782" y="1596112"/>
            <a:ext cx="5763633" cy="44502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b="1" dirty="0">
                <a:solidFill>
                  <a:schemeClr val="tx2"/>
                </a:solidFill>
              </a:rPr>
              <a:t>Care (cuidado): </a:t>
            </a:r>
            <a:r>
              <a:rPr lang="pt-BR" sz="1600" dirty="0"/>
              <a:t>colaboradores em Home-Office, exceto fabrica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/>
              <a:t>Disponibilizamos máscaras PFF2 e N95 e outros itens de proteção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/>
              <a:t>Contratamos um medico dedicado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/>
              <a:t>Oferecemos palestras com médicos e especialistas para duvidas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/>
              <a:t>Suspendemos a participação dos funcionários nos custos de restaurante e implementamos vale-alimentação e vale ajuda de custo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/>
              <a:t>Vacina da grip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600" dirty="0"/>
              <a:t>Programa de apoio psicológico em caso de falecimento</a:t>
            </a:r>
            <a:r>
              <a:rPr lang="pt-BR" sz="1600" b="1" dirty="0"/>
              <a:t>. </a:t>
            </a:r>
          </a:p>
        </p:txBody>
      </p:sp>
      <p:sp>
        <p:nvSpPr>
          <p:cNvPr id="10" name="Rectangle 33">
            <a:extLst>
              <a:ext uri="{FF2B5EF4-FFF2-40B4-BE49-F238E27FC236}">
                <a16:creationId xmlns:a16="http://schemas.microsoft.com/office/drawing/2014/main" xmlns="" id="{F8A58D05-DB01-42EA-BC46-EABA71E5087C}"/>
              </a:ext>
            </a:extLst>
          </p:cNvPr>
          <p:cNvSpPr/>
          <p:nvPr/>
        </p:nvSpPr>
        <p:spPr bwMode="auto">
          <a:xfrm>
            <a:off x="6328881" y="1596113"/>
            <a:ext cx="5688749" cy="4450276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45720" tIns="45720" rIns="45720" bIns="45720" numCol="1" rtlCol="0" anchor="t" anchorCtr="0" compatLnSpc="1">
            <a:prstTxWarp prst="textNoShape">
              <a:avLst/>
            </a:prstTxWarp>
          </a:bodyPr>
          <a:lstStyle/>
          <a:p>
            <a:pPr marL="117475" indent="-117475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920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xmlns="" id="{1475BA2E-D6F3-468E-BD3B-404AD11F24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Modelo de Trabalho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8DCD0CE9-B804-48E2-8CC9-08A486F8E74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rtl="0"/>
            <a:r>
              <a:rPr lang="pt"/>
              <a:t>March 4, 2021</a:t>
            </a:r>
            <a:endParaRPr lang="en-US" dirty="0"/>
          </a:p>
        </p:txBody>
      </p:sp>
      <p:sp>
        <p:nvSpPr>
          <p:cNvPr id="5" name="Subtítulo 4">
            <a:extLst>
              <a:ext uri="{FF2B5EF4-FFF2-40B4-BE49-F238E27FC236}">
                <a16:creationId xmlns:a16="http://schemas.microsoft.com/office/drawing/2014/main" xmlns="" id="{DD67334C-58D2-451A-BBD0-DE660F924CFE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pt-BR" dirty="0"/>
              <a:t>Pós-Pandemia e Desafios Futuros</a:t>
            </a:r>
          </a:p>
        </p:txBody>
      </p:sp>
      <p:sp>
        <p:nvSpPr>
          <p:cNvPr id="7" name="Espaço Reservado para Conteúdo 1">
            <a:extLst>
              <a:ext uri="{FF2B5EF4-FFF2-40B4-BE49-F238E27FC236}">
                <a16:creationId xmlns:a16="http://schemas.microsoft.com/office/drawing/2014/main" xmlns="" id="{56097395-EFA5-4BCF-8842-CE92173F958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38736" y="1352592"/>
            <a:ext cx="6561593" cy="415281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Pesquisa feita com os funcionários sobre modelo ideal pós pandemi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Possível modelo de trabalho hibrido (3 vezes na semana home-office e 2 no escritório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Revisão de benefícios com a possibilidade de flexibilidade. (academia, saúde gera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/>
              <a:t>Programa de assistência aos funcionários para temas diversos(saúde mental, lega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600" dirty="0"/>
          </a:p>
          <a:p>
            <a:r>
              <a:rPr lang="pt-BR" sz="1600" b="1" dirty="0">
                <a:solidFill>
                  <a:schemeClr val="tx2"/>
                </a:solidFill>
              </a:rPr>
              <a:t>Alguns Desafio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b="1" dirty="0"/>
              <a:t>Reflexão: </a:t>
            </a:r>
            <a:r>
              <a:rPr lang="pt-BR" sz="1600" dirty="0"/>
              <a:t>relações humanas, profissionais (gestão) e comerciai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b="1" dirty="0"/>
              <a:t>Segurança do trabalho: </a:t>
            </a:r>
            <a:r>
              <a:rPr lang="pt-BR" sz="1600" dirty="0"/>
              <a:t>qual o nível de responsabilidade das empesas? Como podemos apoiar na prevenção de  acidentes doméstico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b="1" dirty="0"/>
              <a:t>Programa de Estágio e Aprendiz e Iniciativas de diversidade </a:t>
            </a:r>
            <a:r>
              <a:rPr lang="pt-BR" sz="1600" dirty="0"/>
              <a:t>no novo modelo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600" dirty="0"/>
          </a:p>
        </p:txBody>
      </p:sp>
      <p:pic>
        <p:nvPicPr>
          <p:cNvPr id="8" name="Picture 14">
            <a:extLst>
              <a:ext uri="{FF2B5EF4-FFF2-40B4-BE49-F238E27FC236}">
                <a16:creationId xmlns:a16="http://schemas.microsoft.com/office/drawing/2014/main" xmlns="" id="{5902A606-81C7-4D65-968A-3799950742B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877"/>
                    </a14:imgEffect>
                    <a14:imgEffect>
                      <a14:brightnessContrast bright="-8000" contrast="1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5904" r="15395"/>
          <a:stretch/>
        </p:blipFill>
        <p:spPr>
          <a:xfrm>
            <a:off x="7140539" y="0"/>
            <a:ext cx="5051461" cy="6082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227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3154AAD2-0FA1-40C3-BDB9-1741228A7DD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rtlCol="0"/>
          <a:lstStyle/>
          <a:p>
            <a:pPr rtl="0"/>
            <a:r>
              <a:rPr lang="pt"/>
              <a:t>4 de março de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0772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3EBCF912-EF56-4F9B-89DD-C4C1CE9334E8}"/>
              </a:ext>
            </a:extLst>
          </p:cNvPr>
          <p:cNvSpPr/>
          <p:nvPr/>
        </p:nvSpPr>
        <p:spPr bwMode="gray">
          <a:xfrm>
            <a:off x="673100" y="5969000"/>
            <a:ext cx="11180164" cy="2220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4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65558F7A-98BE-42A9-8097-EEBD220EDD7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34254"/>
          <a:stretch/>
        </p:blipFill>
        <p:spPr>
          <a:xfrm>
            <a:off x="0" y="0"/>
            <a:ext cx="8015778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555469F-18F5-46E2-8670-610089750F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2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2555469F-18F5-46E2-8670-610089750F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9DAFBBC-4A80-4BD4-BF6B-E47752EB72B8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rtl="0"/>
            <a:endParaRPr lang="en-US" sz="2400" b="1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xmlns="" id="{39AE165D-B708-4024-B2AA-E2C173497EA5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 rtlCol="0"/>
          <a:lstStyle/>
          <a:p>
            <a:pPr rtl="0"/>
            <a:r>
              <a:rPr lang="pt"/>
              <a:t> 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2C36D212-3AA6-46B0-9613-0211970F87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 anchor="t"/>
          <a:lstStyle/>
          <a:p>
            <a:pPr rtl="0"/>
            <a:r>
              <a:rPr lang="pt" noProof="0"/>
              <a:t>Bem posicionada nos mercados globai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DA046ADD-10C7-4A32-B7CB-C08F77468B49}"/>
              </a:ext>
            </a:extLst>
          </p:cNvPr>
          <p:cNvSpPr/>
          <p:nvPr/>
        </p:nvSpPr>
        <p:spPr bwMode="gray">
          <a:xfrm>
            <a:off x="242214" y="426352"/>
            <a:ext cx="55097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pt" sz="2400" b="1">
                <a:solidFill>
                  <a:schemeClr val="bg2"/>
                </a:solidFill>
              </a:rPr>
              <a:t>—</a:t>
            </a:r>
            <a:endParaRPr lang="en-US" sz="2400" b="1" dirty="0">
              <a:solidFill>
                <a:schemeClr val="bg2"/>
              </a:solidFill>
            </a:endParaRP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xmlns="" id="{175E74E4-DB55-42BE-ABF0-E9DDEB275F4D}"/>
              </a:ext>
            </a:extLst>
          </p:cNvPr>
          <p:cNvSpPr txBox="1">
            <a:spLocks/>
          </p:cNvSpPr>
          <p:nvPr/>
        </p:nvSpPr>
        <p:spPr bwMode="gray">
          <a:xfrm>
            <a:off x="6895092" y="6563289"/>
            <a:ext cx="1015463" cy="198774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defRPr sz="1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defRPr sz="1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defRPr sz="1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defRPr sz="1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defRPr sz="1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defRPr sz="1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defRPr sz="1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defRPr sz="1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lvl="8" algn="ctr" rtl="0"/>
            <a:r>
              <a:rPr lang="pt" sz="1200" b="1">
                <a:solidFill>
                  <a:schemeClr val="bg1"/>
                </a:solidFill>
              </a:rPr>
              <a:t>números de 2020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6D602CB8-016A-4E3D-AA23-29BE19A0B6AE}"/>
              </a:ext>
            </a:extLst>
          </p:cNvPr>
          <p:cNvSpPr/>
          <p:nvPr/>
        </p:nvSpPr>
        <p:spPr bwMode="gray">
          <a:xfrm>
            <a:off x="8015778" y="-3400"/>
            <a:ext cx="4176221" cy="6861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45720" rIns="91440" bIns="45720" rtlCol="0" anchor="ctr"/>
          <a:lstStyle/>
          <a:p>
            <a:pPr rtl="0">
              <a:lnSpc>
                <a:spcPts val="2700"/>
              </a:lnSpc>
              <a:spcBef>
                <a:spcPts val="1200"/>
              </a:spcBef>
            </a:pPr>
            <a:r>
              <a:rPr lang="pt" sz="1600" dirty="0">
                <a:solidFill>
                  <a:schemeClr val="tx1"/>
                </a:solidFill>
              </a:rPr>
              <a:t>ABB é uma empresa líder global em tecnologia que energiza a transformação da sociedade e da indústria para alcançar um mais produtivo, futuro sustentável. </a:t>
            </a:r>
          </a:p>
          <a:p>
            <a:pPr>
              <a:lnSpc>
                <a:spcPts val="2700"/>
              </a:lnSpc>
              <a:spcBef>
                <a:spcPts val="1200"/>
              </a:spcBef>
            </a:pPr>
            <a:r>
              <a:rPr lang="pt" sz="1600" dirty="0">
                <a:solidFill>
                  <a:schemeClr val="tx1"/>
                </a:solidFill>
              </a:rPr>
              <a:t>Ao conectar o software ao seu portfólio de </a:t>
            </a:r>
            <a:r>
              <a:rPr lang="pt-BR" sz="1600" b="1" dirty="0">
                <a:solidFill>
                  <a:schemeClr val="tx1"/>
                </a:solidFill>
              </a:rPr>
              <a:t>Electrification</a:t>
            </a:r>
            <a:r>
              <a:rPr lang="pt" sz="1600" dirty="0">
                <a:solidFill>
                  <a:schemeClr val="tx1"/>
                </a:solidFill>
              </a:rPr>
              <a:t>, </a:t>
            </a:r>
            <a:r>
              <a:rPr lang="pt" sz="1600" b="1" dirty="0">
                <a:solidFill>
                  <a:schemeClr val="tx1"/>
                </a:solidFill>
              </a:rPr>
              <a:t>Motion</a:t>
            </a:r>
            <a:r>
              <a:rPr lang="pt" sz="1600" dirty="0">
                <a:solidFill>
                  <a:schemeClr val="tx1"/>
                </a:solidFill>
              </a:rPr>
              <a:t>, </a:t>
            </a:r>
            <a:r>
              <a:rPr lang="pt-BR" sz="1600" b="1" dirty="0">
                <a:solidFill>
                  <a:schemeClr val="tx1"/>
                </a:solidFill>
              </a:rPr>
              <a:t>Process Automation </a:t>
            </a:r>
            <a:r>
              <a:rPr lang="pt" sz="1600" b="1" dirty="0">
                <a:solidFill>
                  <a:schemeClr val="tx1"/>
                </a:solidFill>
              </a:rPr>
              <a:t>e</a:t>
            </a:r>
            <a:r>
              <a:rPr lang="pt" sz="1600" dirty="0">
                <a:solidFill>
                  <a:schemeClr val="tx1"/>
                </a:solidFill>
              </a:rPr>
              <a:t> </a:t>
            </a:r>
            <a:r>
              <a:rPr lang="pt-BR" sz="1600" b="1" dirty="0">
                <a:solidFill>
                  <a:schemeClr val="tx1"/>
                </a:solidFill>
              </a:rPr>
              <a:t>Robotics &amp; Discrete Automation</a:t>
            </a:r>
            <a:r>
              <a:rPr lang="pt" sz="1600" dirty="0">
                <a:solidFill>
                  <a:schemeClr val="tx1"/>
                </a:solidFill>
              </a:rPr>
              <a:t>, a ABB supera os limites da tecnologia para levar o desempenho a novos níveis. </a:t>
            </a:r>
          </a:p>
        </p:txBody>
      </p:sp>
      <p:pic>
        <p:nvPicPr>
          <p:cNvPr id="16" name="Picture 19">
            <a:extLst>
              <a:ext uri="{FF2B5EF4-FFF2-40B4-BE49-F238E27FC236}">
                <a16:creationId xmlns:a16="http://schemas.microsoft.com/office/drawing/2014/main" xmlns="" id="{54CBA875-481B-445E-BC70-3D5175E394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45664" y="6393976"/>
            <a:ext cx="507600" cy="194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65C3E2D4-9A12-4651-A50B-40C498C10B6E}"/>
              </a:ext>
            </a:extLst>
          </p:cNvPr>
          <p:cNvGrpSpPr/>
          <p:nvPr/>
        </p:nvGrpSpPr>
        <p:grpSpPr>
          <a:xfrm>
            <a:off x="573126" y="2220536"/>
            <a:ext cx="1706726" cy="565269"/>
            <a:chOff x="573126" y="2241772"/>
            <a:chExt cx="1706726" cy="565269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xmlns="" id="{957DBF27-1552-4066-A053-EAF449F43419}"/>
                </a:ext>
              </a:extLst>
            </p:cNvPr>
            <p:cNvSpPr/>
            <p:nvPr/>
          </p:nvSpPr>
          <p:spPr>
            <a:xfrm>
              <a:off x="573126" y="2241772"/>
              <a:ext cx="1706726" cy="203211"/>
            </a:xfrm>
            <a:prstGeom prst="rect">
              <a:avLst/>
            </a:prstGeom>
          </p:spPr>
          <p:txBody>
            <a:bodyPr wrap="square" rtlCol="0" anchor="ctr">
              <a:noAutofit/>
            </a:bodyPr>
            <a:lstStyle/>
            <a:p>
              <a:pPr algn="ctr" rtl="0">
                <a:spcBef>
                  <a:spcPts val="1200"/>
                </a:spcBef>
              </a:pPr>
              <a:r>
                <a:rPr lang="pt" b="1">
                  <a:solidFill>
                    <a:schemeClr val="bg1"/>
                  </a:solidFill>
                </a:rPr>
                <a:t>Funcionários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xmlns="" id="{8CAAF9C4-D867-482F-ACDA-02AA7B41CCCD}"/>
                </a:ext>
              </a:extLst>
            </p:cNvPr>
            <p:cNvSpPr/>
            <p:nvPr/>
          </p:nvSpPr>
          <p:spPr>
            <a:xfrm>
              <a:off x="573126" y="2585003"/>
              <a:ext cx="1706726" cy="222038"/>
            </a:xfrm>
            <a:prstGeom prst="rect">
              <a:avLst/>
            </a:prstGeom>
          </p:spPr>
          <p:txBody>
            <a:bodyPr wrap="square" rtlCol="0" anchor="ctr">
              <a:noAutofit/>
            </a:bodyPr>
            <a:lstStyle/>
            <a:p>
              <a:pPr algn="ctr" rtl="0">
                <a:spcBef>
                  <a:spcPts val="1200"/>
                </a:spcBef>
              </a:pPr>
              <a:r>
                <a:rPr lang="pt" sz="2000">
                  <a:solidFill>
                    <a:schemeClr val="bg1"/>
                  </a:solidFill>
                  <a:latin typeface="ABBvoice Light" panose="020D0403020503020204" pitchFamily="34" charset="0"/>
                  <a:ea typeface="ABBvoice Light" panose="020D0403020503020204" pitchFamily="34" charset="0"/>
                  <a:cs typeface="ABBvoice Light" panose="020D0403020503020204" pitchFamily="34" charset="0"/>
                </a:rPr>
                <a:t>~105,000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xmlns="" id="{B3D74312-4A8D-4DD8-A61F-EBE718EED8E8}"/>
              </a:ext>
            </a:extLst>
          </p:cNvPr>
          <p:cNvGrpSpPr/>
          <p:nvPr/>
        </p:nvGrpSpPr>
        <p:grpSpPr>
          <a:xfrm>
            <a:off x="2926873" y="2220536"/>
            <a:ext cx="1706726" cy="565269"/>
            <a:chOff x="2926873" y="2241772"/>
            <a:chExt cx="1706726" cy="565269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xmlns="" id="{96239378-1828-49ED-8356-D922C36B800F}"/>
                </a:ext>
              </a:extLst>
            </p:cNvPr>
            <p:cNvSpPr/>
            <p:nvPr/>
          </p:nvSpPr>
          <p:spPr>
            <a:xfrm>
              <a:off x="2926873" y="2241772"/>
              <a:ext cx="1706726" cy="203211"/>
            </a:xfrm>
            <a:prstGeom prst="rect">
              <a:avLst/>
            </a:prstGeom>
          </p:spPr>
          <p:txBody>
            <a:bodyPr wrap="square" rtlCol="0" anchor="ctr">
              <a:noAutofit/>
            </a:bodyPr>
            <a:lstStyle/>
            <a:p>
              <a:pPr algn="ctr" rtl="0">
                <a:spcBef>
                  <a:spcPts val="1200"/>
                </a:spcBef>
              </a:pPr>
              <a:r>
                <a:rPr lang="pt" sz="2000" b="1">
                  <a:solidFill>
                    <a:schemeClr val="bg1"/>
                  </a:solidFill>
                </a:rPr>
                <a:t>Países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xmlns="" id="{9CB16ED8-4C9C-4FA0-894C-35155EE4D32A}"/>
                </a:ext>
              </a:extLst>
            </p:cNvPr>
            <p:cNvSpPr/>
            <p:nvPr/>
          </p:nvSpPr>
          <p:spPr>
            <a:xfrm>
              <a:off x="2926873" y="2585003"/>
              <a:ext cx="1706726" cy="222038"/>
            </a:xfrm>
            <a:prstGeom prst="rect">
              <a:avLst/>
            </a:prstGeom>
          </p:spPr>
          <p:txBody>
            <a:bodyPr wrap="square" rtlCol="0" anchor="ctr">
              <a:noAutofit/>
            </a:bodyPr>
            <a:lstStyle/>
            <a:p>
              <a:pPr algn="ctr" rtl="0">
                <a:spcBef>
                  <a:spcPts val="1200"/>
                </a:spcBef>
              </a:pPr>
              <a:r>
                <a:rPr lang="pt" sz="2000">
                  <a:solidFill>
                    <a:schemeClr val="bg1"/>
                  </a:solidFill>
                  <a:latin typeface="ABBvoice Light" panose="020D0403020503020204" pitchFamily="34" charset="0"/>
                  <a:ea typeface="ABBvoice Light" panose="020D0403020503020204" pitchFamily="34" charset="0"/>
                  <a:cs typeface="ABBvoice Light" panose="020D0403020503020204" pitchFamily="34" charset="0"/>
                </a:rPr>
                <a:t>~100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xmlns="" id="{C98C0A2E-F033-4D7A-A568-3445DDD5F34B}"/>
              </a:ext>
            </a:extLst>
          </p:cNvPr>
          <p:cNvGrpSpPr/>
          <p:nvPr/>
        </p:nvGrpSpPr>
        <p:grpSpPr>
          <a:xfrm>
            <a:off x="5280620" y="2220536"/>
            <a:ext cx="1706726" cy="565269"/>
            <a:chOff x="5280620" y="2241772"/>
            <a:chExt cx="1706726" cy="565269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xmlns="" id="{CC964DDE-8E54-497E-9EF8-CD84953EFA3E}"/>
                </a:ext>
              </a:extLst>
            </p:cNvPr>
            <p:cNvSpPr/>
            <p:nvPr/>
          </p:nvSpPr>
          <p:spPr>
            <a:xfrm>
              <a:off x="5280620" y="2241772"/>
              <a:ext cx="1706726" cy="203211"/>
            </a:xfrm>
            <a:prstGeom prst="rect">
              <a:avLst/>
            </a:prstGeom>
          </p:spPr>
          <p:txBody>
            <a:bodyPr wrap="square" rtlCol="0" anchor="ctr">
              <a:noAutofit/>
            </a:bodyPr>
            <a:lstStyle/>
            <a:p>
              <a:pPr algn="ctr" rtl="0">
                <a:spcBef>
                  <a:spcPts val="1200"/>
                </a:spcBef>
              </a:pPr>
              <a:r>
                <a:rPr lang="pt" sz="2000" b="1">
                  <a:solidFill>
                    <a:schemeClr val="bg1"/>
                  </a:solidFill>
                </a:rPr>
                <a:t>Receitas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xmlns="" id="{D9EAF5C3-DAF2-4081-ADEB-E64D688C7625}"/>
                </a:ext>
              </a:extLst>
            </p:cNvPr>
            <p:cNvSpPr/>
            <p:nvPr/>
          </p:nvSpPr>
          <p:spPr>
            <a:xfrm>
              <a:off x="5280620" y="2585003"/>
              <a:ext cx="1706726" cy="222038"/>
            </a:xfrm>
            <a:prstGeom prst="rect">
              <a:avLst/>
            </a:prstGeom>
          </p:spPr>
          <p:txBody>
            <a:bodyPr wrap="square" rtlCol="0" anchor="ctr">
              <a:noAutofit/>
            </a:bodyPr>
            <a:lstStyle/>
            <a:p>
              <a:pPr algn="ctr" rtl="0">
                <a:spcBef>
                  <a:spcPts val="1200"/>
                </a:spcBef>
              </a:pPr>
              <a:r>
                <a:rPr lang="pt" sz="2000">
                  <a:solidFill>
                    <a:schemeClr val="bg1"/>
                  </a:solidFill>
                  <a:latin typeface="ABBvoice Light" panose="020D0403020503020204" pitchFamily="34" charset="0"/>
                  <a:ea typeface="ABBvoice Light" panose="020D0403020503020204" pitchFamily="34" charset="0"/>
                  <a:cs typeface="ABBvoice Light" panose="020D0403020503020204" pitchFamily="34" charset="0"/>
                </a:rPr>
                <a:t>~$26 biliões</a:t>
              </a:r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xmlns="" id="{396846DF-867D-4144-A094-3C2DFE0446EF}"/>
              </a:ext>
            </a:extLst>
          </p:cNvPr>
          <p:cNvSpPr/>
          <p:nvPr/>
        </p:nvSpPr>
        <p:spPr>
          <a:xfrm>
            <a:off x="1487670" y="4402994"/>
            <a:ext cx="963402" cy="203211"/>
          </a:xfrm>
          <a:prstGeom prst="rect">
            <a:avLst/>
          </a:prstGeom>
        </p:spPr>
        <p:txBody>
          <a:bodyPr wrap="square" rtlCol="0" anchor="ctr">
            <a:noAutofit/>
          </a:bodyPr>
          <a:lstStyle/>
          <a:p>
            <a:pPr algn="ctr" rtl="0">
              <a:spcBef>
                <a:spcPts val="1200"/>
              </a:spcBef>
            </a:pPr>
            <a:r>
              <a:rPr lang="pt" sz="1600" b="1">
                <a:solidFill>
                  <a:schemeClr val="bg1"/>
                </a:solidFill>
              </a:rPr>
              <a:t>Europa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xmlns="" id="{EE346112-D91D-4586-86E6-258207C97664}"/>
              </a:ext>
            </a:extLst>
          </p:cNvPr>
          <p:cNvSpPr/>
          <p:nvPr/>
        </p:nvSpPr>
        <p:spPr>
          <a:xfrm>
            <a:off x="1444108" y="4631924"/>
            <a:ext cx="1059742" cy="222038"/>
          </a:xfrm>
          <a:prstGeom prst="rect">
            <a:avLst/>
          </a:prstGeom>
        </p:spPr>
        <p:txBody>
          <a:bodyPr wrap="square" rtlCol="0" anchor="ctr">
            <a:noAutofit/>
          </a:bodyPr>
          <a:lstStyle/>
          <a:p>
            <a:pPr algn="ctr" rtl="0">
              <a:spcBef>
                <a:spcPts val="1200"/>
              </a:spcBef>
            </a:pPr>
            <a:r>
              <a:rPr lang="pt" sz="1600">
                <a:solidFill>
                  <a:schemeClr val="bg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~$9.6 bn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xmlns="" id="{9111FDC5-987D-4D0C-9962-4095D7AEA30B}"/>
              </a:ext>
            </a:extLst>
          </p:cNvPr>
          <p:cNvSpPr/>
          <p:nvPr/>
        </p:nvSpPr>
        <p:spPr>
          <a:xfrm>
            <a:off x="3195319" y="4402994"/>
            <a:ext cx="1165716" cy="203211"/>
          </a:xfrm>
          <a:prstGeom prst="rect">
            <a:avLst/>
          </a:prstGeom>
        </p:spPr>
        <p:txBody>
          <a:bodyPr wrap="square" rtlCol="0" anchor="ctr">
            <a:noAutofit/>
          </a:bodyPr>
          <a:lstStyle/>
          <a:p>
            <a:pPr algn="ctr" rtl="0">
              <a:spcBef>
                <a:spcPts val="1200"/>
              </a:spcBef>
            </a:pPr>
            <a:r>
              <a:rPr lang="pt" sz="1600" b="1">
                <a:solidFill>
                  <a:schemeClr val="bg1"/>
                </a:solidFill>
              </a:rPr>
              <a:t>América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xmlns="" id="{E9A86753-2FD1-4D8C-81D7-17A6B689B270}"/>
              </a:ext>
            </a:extLst>
          </p:cNvPr>
          <p:cNvSpPr/>
          <p:nvPr/>
        </p:nvSpPr>
        <p:spPr>
          <a:xfrm>
            <a:off x="3252914" y="4631924"/>
            <a:ext cx="1059742" cy="222038"/>
          </a:xfrm>
          <a:prstGeom prst="rect">
            <a:avLst/>
          </a:prstGeom>
        </p:spPr>
        <p:txBody>
          <a:bodyPr wrap="square" rtlCol="0" anchor="ctr">
            <a:noAutofit/>
          </a:bodyPr>
          <a:lstStyle/>
          <a:p>
            <a:pPr algn="ctr" rtl="0">
              <a:spcBef>
                <a:spcPts val="1200"/>
              </a:spcBef>
            </a:pPr>
            <a:r>
              <a:rPr lang="pt" sz="1600">
                <a:solidFill>
                  <a:schemeClr val="bg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~$7.9 b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xmlns="" id="{184BE5CB-7D8E-4504-9787-9051A2E31C07}"/>
              </a:ext>
            </a:extLst>
          </p:cNvPr>
          <p:cNvSpPr/>
          <p:nvPr/>
        </p:nvSpPr>
        <p:spPr>
          <a:xfrm>
            <a:off x="5108051" y="4402994"/>
            <a:ext cx="963402" cy="203211"/>
          </a:xfrm>
          <a:prstGeom prst="rect">
            <a:avLst/>
          </a:prstGeom>
        </p:spPr>
        <p:txBody>
          <a:bodyPr wrap="square" rtlCol="0" anchor="ctr">
            <a:noAutofit/>
          </a:bodyPr>
          <a:lstStyle/>
          <a:p>
            <a:pPr algn="ctr" rtl="0">
              <a:spcBef>
                <a:spcPts val="1200"/>
              </a:spcBef>
            </a:pPr>
            <a:r>
              <a:rPr lang="pt" sz="1600" b="1">
                <a:solidFill>
                  <a:schemeClr val="bg1"/>
                </a:solidFill>
              </a:rPr>
              <a:t>AMEA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xmlns="" id="{FCD23746-3259-4793-8BFF-B656FACA33F7}"/>
              </a:ext>
            </a:extLst>
          </p:cNvPr>
          <p:cNvSpPr/>
          <p:nvPr/>
        </p:nvSpPr>
        <p:spPr>
          <a:xfrm>
            <a:off x="5064489" y="4631924"/>
            <a:ext cx="1059742" cy="222038"/>
          </a:xfrm>
          <a:prstGeom prst="rect">
            <a:avLst/>
          </a:prstGeom>
        </p:spPr>
        <p:txBody>
          <a:bodyPr wrap="square" rtlCol="0" anchor="ctr">
            <a:noAutofit/>
          </a:bodyPr>
          <a:lstStyle/>
          <a:p>
            <a:pPr algn="ctr" rtl="0">
              <a:spcBef>
                <a:spcPts val="1200"/>
              </a:spcBef>
            </a:pPr>
            <a:r>
              <a:rPr lang="pt" sz="1600">
                <a:solidFill>
                  <a:schemeClr val="bg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~$8.4 bn</a:t>
            </a:r>
          </a:p>
        </p:txBody>
      </p:sp>
    </p:spTree>
    <p:extLst>
      <p:ext uri="{BB962C8B-B14F-4D97-AF65-F5344CB8AC3E}">
        <p14:creationId xmlns:p14="http://schemas.microsoft.com/office/powerpoint/2010/main" val="1509540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2BEBE180-4401-4E1E-9403-0C1C724AEB6C}"/>
              </a:ext>
            </a:extLst>
          </p:cNvPr>
          <p:cNvSpPr/>
          <p:nvPr/>
        </p:nvSpPr>
        <p:spPr bwMode="gray">
          <a:xfrm>
            <a:off x="180975" y="5972175"/>
            <a:ext cx="12006495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40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xmlns="" id="{0DFD250B-F435-486B-90F4-2FA1CC7EE338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 rtlCol="0"/>
          <a:lstStyle/>
          <a:p>
            <a:pPr rtl="0"/>
            <a:r>
              <a:rPr lang="pt"/>
              <a:t> </a:t>
            </a:r>
            <a:endParaRPr lang="en-US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xmlns="" id="{D5C8EEA6-5850-453A-B272-D03637E340A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 rtlCol="0"/>
          <a:lstStyle/>
          <a:p>
            <a:pPr rtl="0"/>
            <a:r>
              <a:rPr lang="pt"/>
              <a:t> </a:t>
            </a:r>
            <a:endParaRPr lang="en-US" dirty="0"/>
          </a:p>
        </p:txBody>
      </p:sp>
      <p:pic>
        <p:nvPicPr>
          <p:cNvPr id="15362" name="Picture 2">
            <a:extLst>
              <a:ext uri="{FF2B5EF4-FFF2-40B4-BE49-F238E27FC236}">
                <a16:creationId xmlns:a16="http://schemas.microsoft.com/office/drawing/2014/main" xmlns="" id="{39F85D34-3411-46DA-83F1-D4BA84934D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14690" y="3494094"/>
            <a:ext cx="4129240" cy="3363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xmlns="" id="{E2F10766-2633-4C2F-B987-B26EA840934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67289" y="0"/>
            <a:ext cx="4124711" cy="3365667"/>
          </a:xfrm>
          <a:prstGeom prst="rect">
            <a:avLst/>
          </a:prstGeom>
        </p:spPr>
      </p:pic>
      <p:pic>
        <p:nvPicPr>
          <p:cNvPr id="25" name="Picture 4">
            <a:extLst>
              <a:ext uri="{FF2B5EF4-FFF2-40B4-BE49-F238E27FC236}">
                <a16:creationId xmlns:a16="http://schemas.microsoft.com/office/drawing/2014/main" xmlns="" id="{F1529BB0-DC96-49B6-8362-936BF0EEB57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062760" y="3487734"/>
            <a:ext cx="4129240" cy="3370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9">
            <a:extLst>
              <a:ext uri="{FF2B5EF4-FFF2-40B4-BE49-F238E27FC236}">
                <a16:creationId xmlns:a16="http://schemas.microsoft.com/office/drawing/2014/main" xmlns="" id="{8B9B4D39-A51A-477D-8ADD-637A561D00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45664" y="6393976"/>
            <a:ext cx="507600" cy="194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FBC5B346-3986-43C9-BBC4-4507E1A2210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936"/>
          <a:stretch/>
        </p:blipFill>
        <p:spPr>
          <a:xfrm>
            <a:off x="3814690" y="0"/>
            <a:ext cx="4129240" cy="3363906"/>
          </a:xfrm>
          <a:prstGeom prst="rect">
            <a:avLst/>
          </a:prstGeom>
        </p:spPr>
      </p:pic>
      <p:sp>
        <p:nvSpPr>
          <p:cNvPr id="13" name="Content Placeholder 3">
            <a:extLst>
              <a:ext uri="{FF2B5EF4-FFF2-40B4-BE49-F238E27FC236}">
                <a16:creationId xmlns:a16="http://schemas.microsoft.com/office/drawing/2014/main" xmlns="" id="{C65EB1EA-E03D-49A9-8500-42395F56AC7A}"/>
              </a:ext>
            </a:extLst>
          </p:cNvPr>
          <p:cNvSpPr txBox="1">
            <a:spLocks/>
          </p:cNvSpPr>
          <p:nvPr/>
        </p:nvSpPr>
        <p:spPr bwMode="gray">
          <a:xfrm>
            <a:off x="308504" y="1647946"/>
            <a:ext cx="3378658" cy="222607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700"/>
              </a:lnSpc>
            </a:pPr>
            <a:r>
              <a:rPr lang="en-US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Electrification</a:t>
            </a:r>
          </a:p>
          <a:p>
            <a:pPr>
              <a:lnSpc>
                <a:spcPts val="2700"/>
              </a:lnSpc>
            </a:pPr>
            <a:r>
              <a:rPr lang="en-US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Motion</a:t>
            </a:r>
          </a:p>
          <a:p>
            <a:pPr>
              <a:lnSpc>
                <a:spcPts val="2700"/>
              </a:lnSpc>
            </a:pPr>
            <a:r>
              <a:rPr lang="en-US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Process Automation</a:t>
            </a:r>
          </a:p>
          <a:p>
            <a:pPr>
              <a:lnSpc>
                <a:spcPts val="2700"/>
              </a:lnSpc>
            </a:pPr>
            <a:r>
              <a:rPr lang="en-US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Robotics &amp; Discrete Automation</a:t>
            </a:r>
          </a:p>
          <a:p>
            <a:pPr marL="176213" marR="0" lvl="0" indent="-176213" algn="l" defTabSz="914491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kumimoji="0" lang="en-US" sz="1200" b="0" i="0" u="none" strike="noStrike" kern="1200" cap="none" spc="0" normalizeH="0" baseline="0" dirty="0">
              <a:ln>
                <a:noFill/>
              </a:ln>
              <a:effectLst/>
              <a:uLnTx/>
              <a:uFillTx/>
              <a:ea typeface="ABBvoice"/>
              <a:cs typeface="ABBvoice"/>
            </a:endParaRP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xmlns="" id="{08F16611-70D9-4D0F-9C10-45D398A28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264" y="682313"/>
            <a:ext cx="3481426" cy="396000"/>
          </a:xfrm>
        </p:spPr>
        <p:txBody>
          <a:bodyPr rtlCol="0"/>
          <a:lstStyle/>
          <a:p>
            <a:pPr rtl="0"/>
            <a:r>
              <a:rPr lang="pt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Nossas Áreas de Negóci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7209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E95CC00E-2049-47BF-B4D6-85B1104E89FE}"/>
              </a:ext>
            </a:extLst>
          </p:cNvPr>
          <p:cNvSpPr/>
          <p:nvPr/>
        </p:nvSpPr>
        <p:spPr bwMode="gray">
          <a:xfrm>
            <a:off x="180975" y="5972175"/>
            <a:ext cx="12006495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400" dirty="0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xmlns="" id="{0558ECFF-2D28-45A0-A2F0-EE2A5EB972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264" y="682313"/>
            <a:ext cx="5694274" cy="396000"/>
          </a:xfrm>
        </p:spPr>
        <p:txBody>
          <a:bodyPr rtlCol="0"/>
          <a:lstStyle/>
          <a:p>
            <a:pPr rtl="0"/>
            <a:r>
              <a:rPr lang="pt-BR" dirty="0"/>
              <a:t>Electrification</a:t>
            </a:r>
            <a:endParaRPr lang="pt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xmlns="" id="{8DEC0CC1-F2BB-483C-9386-72B71034F819}"/>
              </a:ext>
            </a:extLst>
          </p:cNvPr>
          <p:cNvSpPr txBox="1">
            <a:spLocks/>
          </p:cNvSpPr>
          <p:nvPr/>
        </p:nvSpPr>
        <p:spPr bwMode="gray">
          <a:xfrm>
            <a:off x="333264" y="1547637"/>
            <a:ext cx="5354464" cy="3183726"/>
          </a:xfrm>
          <a:prstGeom prst="rect">
            <a:avLst/>
          </a:prstGeom>
        </p:spPr>
        <p:txBody>
          <a:bodyPr lIns="0" tIns="0" rIns="0" bIns="0" rtlCol="0"/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>
              <a:lnSpc>
                <a:spcPts val="2700"/>
              </a:lnSpc>
            </a:pPr>
            <a:r>
              <a:rPr lang="pt" sz="1600" b="1" dirty="0"/>
              <a:t>Escrevendo o futuro da </a:t>
            </a:r>
            <a:r>
              <a:rPr lang="pt-BR" sz="1600" b="1" dirty="0"/>
              <a:t>eletrificação</a:t>
            </a:r>
            <a:r>
              <a:rPr lang="pt" sz="1600" b="1" dirty="0"/>
              <a:t> segura, inteligente e sustentável.</a:t>
            </a:r>
            <a:r>
              <a:rPr lang="en-US" sz="1600" b="1" dirty="0"/>
              <a:t/>
            </a:r>
            <a:br>
              <a:rPr lang="en-US" sz="1600" b="1" dirty="0"/>
            </a:br>
            <a:endParaRPr lang="en-US" sz="1600" b="1" dirty="0"/>
          </a:p>
          <a:p>
            <a:pPr rtl="0">
              <a:lnSpc>
                <a:spcPts val="2700"/>
              </a:lnSpc>
            </a:pPr>
            <a:r>
              <a:rPr lang="pt" sz="1600" dirty="0">
                <a:ea typeface="ABBvoice Light" panose="020D0403020503020204" pitchFamily="34" charset="0"/>
                <a:cs typeface="ABBvoice Light" panose="020D0403020503020204" pitchFamily="34" charset="0"/>
              </a:rPr>
              <a:t>O negócio de </a:t>
            </a:r>
            <a:r>
              <a:rPr lang="pt-BR" sz="1600" dirty="0">
                <a:ea typeface="ABBvoice Light" panose="020D0403020503020204" pitchFamily="34" charset="0"/>
                <a:cs typeface="ABBvoice Light" panose="020D0403020503020204" pitchFamily="34" charset="0"/>
              </a:rPr>
              <a:t>Electrification</a:t>
            </a:r>
            <a:r>
              <a:rPr lang="pt" sz="1600" dirty="0">
                <a:ea typeface="ABBvoice Light" panose="020D0403020503020204" pitchFamily="34" charset="0"/>
                <a:cs typeface="ABBvoice Light" panose="020D0403020503020204" pitchFamily="34" charset="0"/>
              </a:rPr>
              <a:t> da ABB oferece um amplo portfólio de produtos, soluções digitais e serviços, da subestação ao soquete, permitindo uma </a:t>
            </a:r>
            <a:r>
              <a:rPr lang="pt-BR" sz="1600" dirty="0">
                <a:ea typeface="ABBvoice Light" panose="020D0403020503020204" pitchFamily="34" charset="0"/>
                <a:cs typeface="ABBvoice Light" panose="020D0403020503020204" pitchFamily="34" charset="0"/>
              </a:rPr>
              <a:t>eletrificação</a:t>
            </a:r>
            <a:r>
              <a:rPr lang="pt" sz="1600" dirty="0">
                <a:ea typeface="ABBvoice Light" panose="020D0403020503020204" pitchFamily="34" charset="0"/>
                <a:cs typeface="ABBvoice Light" panose="020D0403020503020204" pitchFamily="34" charset="0"/>
              </a:rPr>
              <a:t> segura, inteligente e sustentável. </a:t>
            </a:r>
            <a:endParaRPr lang="sv-SE" sz="1600" dirty="0">
              <a:ea typeface="ABBvoice Light" panose="020D0403020503020204" pitchFamily="34" charset="0"/>
              <a:cs typeface="ABBvoice Light" panose="020D0403020503020204" pitchFamily="34" charset="0"/>
            </a:endParaRPr>
          </a:p>
          <a:p>
            <a:pPr marL="176213" marR="0" lvl="0" indent="-176213" algn="l" defTabSz="914491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ABBvoice"/>
              <a:cs typeface="ABBvoice"/>
            </a:endParaRPr>
          </a:p>
        </p:txBody>
      </p:sp>
      <p:graphicFrame>
        <p:nvGraphicFramePr>
          <p:cNvPr id="53" name="Table 43">
            <a:extLst>
              <a:ext uri="{FF2B5EF4-FFF2-40B4-BE49-F238E27FC236}">
                <a16:creationId xmlns:a16="http://schemas.microsoft.com/office/drawing/2014/main" xmlns="" id="{23D2800D-7733-4AD8-A16D-ABC6F2DC44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7047267"/>
              </p:ext>
            </p:extLst>
          </p:nvPr>
        </p:nvGraphicFramePr>
        <p:xfrm>
          <a:off x="1463564" y="4840796"/>
          <a:ext cx="3312000" cy="1872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64000">
                  <a:extLst>
                    <a:ext uri="{9D8B030D-6E8A-4147-A177-3AD203B41FA5}">
                      <a16:colId xmlns:a16="http://schemas.microsoft.com/office/drawing/2014/main" xmlns="" val="1932583887"/>
                    </a:ext>
                  </a:extLst>
                </a:gridCol>
                <a:gridCol w="1548000">
                  <a:extLst>
                    <a:ext uri="{9D8B030D-6E8A-4147-A177-3AD203B41FA5}">
                      <a16:colId xmlns:a16="http://schemas.microsoft.com/office/drawing/2014/main" xmlns="" val="3003757308"/>
                    </a:ext>
                  </a:extLst>
                </a:gridCol>
              </a:tblGrid>
              <a:tr h="936000">
                <a:tc>
                  <a:txBody>
                    <a:bodyPr/>
                    <a:lstStyle/>
                    <a:p>
                      <a:pPr rtl="0"/>
                      <a:r>
                        <a:rPr lang="pt" sz="1600" b="1" noProof="0" dirty="0"/>
                        <a:t>Receita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" sz="1600" dirty="0"/>
                        <a:t>11,9 </a:t>
                      </a:r>
                      <a:r>
                        <a:rPr lang="pt-BR" sz="1600" dirty="0" err="1"/>
                        <a:t>bn</a:t>
                      </a:r>
                      <a:r>
                        <a:rPr lang="pt-BR" sz="1600" dirty="0"/>
                        <a:t> </a:t>
                      </a:r>
                      <a:endParaRPr lang="en-US" sz="16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194846342"/>
                  </a:ext>
                </a:extLst>
              </a:tr>
              <a:tr h="936000">
                <a:tc>
                  <a:txBody>
                    <a:bodyPr/>
                    <a:lstStyle/>
                    <a:p>
                      <a:pPr rtl="0"/>
                      <a:r>
                        <a:rPr lang="pt-BR" sz="1600" b="1" noProof="0" dirty="0"/>
                        <a:t>Funcionários</a:t>
                      </a:r>
                      <a:endParaRPr lang="pt" sz="1600" b="1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" sz="1600" dirty="0"/>
                        <a:t>~50 k</a:t>
                      </a: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17307444"/>
                  </a:ext>
                </a:extLst>
              </a:tr>
            </a:tbl>
          </a:graphicData>
        </a:graphic>
      </p:graphicFrame>
      <p:pic>
        <p:nvPicPr>
          <p:cNvPr id="54" name="Graphic 53" descr="Dollar">
            <a:extLst>
              <a:ext uri="{FF2B5EF4-FFF2-40B4-BE49-F238E27FC236}">
                <a16:creationId xmlns:a16="http://schemas.microsoft.com/office/drawing/2014/main" xmlns="" id="{19A42E13-123C-43FE-BCFA-A05374EE94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78190" y="4897620"/>
            <a:ext cx="624548" cy="624548"/>
          </a:xfrm>
          <a:prstGeom prst="rect">
            <a:avLst/>
          </a:prstGeom>
        </p:spPr>
      </p:pic>
      <p:sp>
        <p:nvSpPr>
          <p:cNvPr id="58" name="Title 1">
            <a:extLst>
              <a:ext uri="{FF2B5EF4-FFF2-40B4-BE49-F238E27FC236}">
                <a16:creationId xmlns:a16="http://schemas.microsoft.com/office/drawing/2014/main" xmlns="" id="{9BA0599C-2CE8-4DC7-BFD0-2F417A344B0B}"/>
              </a:ext>
            </a:extLst>
          </p:cNvPr>
          <p:cNvSpPr txBox="1">
            <a:spLocks/>
          </p:cNvSpPr>
          <p:nvPr/>
        </p:nvSpPr>
        <p:spPr bwMode="gray">
          <a:xfrm>
            <a:off x="333264" y="6533034"/>
            <a:ext cx="1775460" cy="24531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91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pt" sz="800" b="0">
                <a:solidFill>
                  <a:schemeClr val="bg1">
                    <a:lumMod val="65000"/>
                  </a:schemeClr>
                </a:solidFill>
              </a:rPr>
              <a:t>Números para o ano fiscal de 2020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xmlns="" id="{EB41961F-094A-421E-939B-BA9BE17B5A9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857" y="5866329"/>
            <a:ext cx="696262" cy="69626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A3D5BF32-13C8-4CA6-9E02-23D09C17239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309" r="26074"/>
          <a:stretch/>
        </p:blipFill>
        <p:spPr>
          <a:xfrm>
            <a:off x="6096000" y="0"/>
            <a:ext cx="6091470" cy="6858000"/>
          </a:xfrm>
          <a:prstGeom prst="rect">
            <a:avLst/>
          </a:prstGeom>
        </p:spPr>
      </p:pic>
      <p:pic>
        <p:nvPicPr>
          <p:cNvPr id="11" name="Picture 19">
            <a:extLst>
              <a:ext uri="{FF2B5EF4-FFF2-40B4-BE49-F238E27FC236}">
                <a16:creationId xmlns:a16="http://schemas.microsoft.com/office/drawing/2014/main" xmlns="" id="{D4C9CDC5-083C-42F3-911A-0DAE1EADE8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45664" y="6393976"/>
            <a:ext cx="507600" cy="194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9692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E95CC00E-2049-47BF-B4D6-85B1104E89FE}"/>
              </a:ext>
            </a:extLst>
          </p:cNvPr>
          <p:cNvSpPr/>
          <p:nvPr/>
        </p:nvSpPr>
        <p:spPr bwMode="gray">
          <a:xfrm>
            <a:off x="180975" y="5972175"/>
            <a:ext cx="12006495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400" dirty="0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xmlns="" id="{0558ECFF-2D28-45A0-A2F0-EE2A5EB972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264" y="682313"/>
            <a:ext cx="4746736" cy="396000"/>
          </a:xfrm>
        </p:spPr>
        <p:txBody>
          <a:bodyPr rtlCol="0"/>
          <a:lstStyle/>
          <a:p>
            <a:pPr rtl="0"/>
            <a:r>
              <a:rPr lang="pt-BR" dirty="0"/>
              <a:t>Motion</a:t>
            </a:r>
            <a:endParaRPr lang="pt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xmlns="" id="{36496B85-79D4-4D9A-92C1-AA104F947027}"/>
              </a:ext>
            </a:extLst>
          </p:cNvPr>
          <p:cNvSpPr txBox="1">
            <a:spLocks/>
          </p:cNvSpPr>
          <p:nvPr/>
        </p:nvSpPr>
        <p:spPr bwMode="gray">
          <a:xfrm>
            <a:off x="333264" y="1547637"/>
            <a:ext cx="5694274" cy="3005822"/>
          </a:xfrm>
          <a:prstGeom prst="rect">
            <a:avLst/>
          </a:prstGeom>
        </p:spPr>
        <p:txBody>
          <a:bodyPr lIns="0" tIns="0" rIns="0" bIns="0" rtlCol="0" anchor="t"/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700"/>
              </a:lnSpc>
            </a:pPr>
            <a:r>
              <a:rPr lang="pt" sz="1600" b="1" dirty="0"/>
              <a:t>Mantemos o mundo em movimento enquanto economizamos energia todos os dias.</a:t>
            </a:r>
            <a:r>
              <a:rPr lang="en-US" sz="1600" b="1" dirty="0"/>
              <a:t/>
            </a:r>
            <a:br>
              <a:rPr lang="en-US" sz="1600" b="1" dirty="0"/>
            </a:br>
            <a:r>
              <a:rPr lang="en-US" sz="1600" b="1" dirty="0"/>
              <a:t/>
            </a:r>
            <a:br>
              <a:rPr lang="en-US" sz="1600" b="1" dirty="0"/>
            </a:br>
            <a:r>
              <a:rPr lang="pt" sz="1600" dirty="0">
                <a:ea typeface="ABBvoice Light" panose="020D0403020503020204" pitchFamily="34" charset="0"/>
                <a:cs typeface="ABBvoice Light" panose="020D0403020503020204" pitchFamily="34" charset="0"/>
              </a:rPr>
              <a:t>O negócio Motion da ABB é o maior fornecedor mundial de inversores e motores. Fornecemos aos clientes uma gama completa de motores elétricos, geradores, inversores e serviços, bem como produtos de transmissão mecânica de energia e </a:t>
            </a:r>
            <a:r>
              <a:rPr lang="pt-BR" sz="1600" dirty="0">
                <a:ea typeface="ABBvoice Light" panose="020D0403020503020204" pitchFamily="34" charset="0"/>
                <a:cs typeface="ABBvoice Light" panose="020D0403020503020204" pitchFamily="34" charset="0"/>
              </a:rPr>
              <a:t>soluções digitais para powertrains</a:t>
            </a:r>
            <a:r>
              <a:rPr lang="pt" sz="1600" dirty="0">
                <a:ea typeface="ABBvoice Light" panose="020D0403020503020204" pitchFamily="34" charset="0"/>
                <a:cs typeface="ABBvoice Light" panose="020D0403020503020204" pitchFamily="34" charset="0"/>
              </a:rPr>
              <a:t>.</a:t>
            </a:r>
            <a:endParaRPr lang="en-US" dirty="0"/>
          </a:p>
          <a:p>
            <a:pPr marL="175895" marR="0" lvl="0" indent="-175895" algn="l" defTabSz="914491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ABBvoice"/>
              <a:cs typeface="ABBvoice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D2670B1E-B982-4B9C-A90F-8081DC2CBBF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0707" y="5728"/>
            <a:ext cx="6101293" cy="6854032"/>
          </a:xfrm>
          <a:prstGeom prst="rect">
            <a:avLst/>
          </a:prstGeom>
        </p:spPr>
      </p:pic>
      <p:pic>
        <p:nvPicPr>
          <p:cNvPr id="11" name="Picture 19">
            <a:extLst>
              <a:ext uri="{FF2B5EF4-FFF2-40B4-BE49-F238E27FC236}">
                <a16:creationId xmlns:a16="http://schemas.microsoft.com/office/drawing/2014/main" xmlns="" id="{D4C9CDC5-083C-42F3-911A-0DAE1EADE8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45664" y="6393976"/>
            <a:ext cx="507600" cy="194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Table 43">
            <a:extLst>
              <a:ext uri="{FF2B5EF4-FFF2-40B4-BE49-F238E27FC236}">
                <a16:creationId xmlns:a16="http://schemas.microsoft.com/office/drawing/2014/main" xmlns="" id="{78106E60-FD36-45F4-B0A5-74B6BB5011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1007590"/>
              </p:ext>
            </p:extLst>
          </p:nvPr>
        </p:nvGraphicFramePr>
        <p:xfrm>
          <a:off x="1463564" y="4840796"/>
          <a:ext cx="3312000" cy="1872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64000">
                  <a:extLst>
                    <a:ext uri="{9D8B030D-6E8A-4147-A177-3AD203B41FA5}">
                      <a16:colId xmlns:a16="http://schemas.microsoft.com/office/drawing/2014/main" xmlns="" val="1932583887"/>
                    </a:ext>
                  </a:extLst>
                </a:gridCol>
                <a:gridCol w="1548000">
                  <a:extLst>
                    <a:ext uri="{9D8B030D-6E8A-4147-A177-3AD203B41FA5}">
                      <a16:colId xmlns:a16="http://schemas.microsoft.com/office/drawing/2014/main" xmlns="" val="3003757308"/>
                    </a:ext>
                  </a:extLst>
                </a:gridCol>
              </a:tblGrid>
              <a:tr h="936000">
                <a:tc>
                  <a:txBody>
                    <a:bodyPr/>
                    <a:lstStyle/>
                    <a:p>
                      <a:pPr rtl="0"/>
                      <a:r>
                        <a:rPr lang="pt" sz="1600" b="1" noProof="0"/>
                        <a:t>Receita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" sz="1600" dirty="0"/>
                        <a:t>6,4 </a:t>
                      </a:r>
                      <a:r>
                        <a:rPr lang="pt-BR" sz="1600" dirty="0"/>
                        <a:t>bn</a:t>
                      </a:r>
                      <a:endParaRPr lang="en-US" sz="16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194846342"/>
                  </a:ext>
                </a:extLst>
              </a:tr>
              <a:tr h="936000">
                <a:tc>
                  <a:txBody>
                    <a:bodyPr/>
                    <a:lstStyle/>
                    <a:p>
                      <a:pPr rtl="0"/>
                      <a:r>
                        <a:rPr lang="pt-BR" sz="1600" b="1" noProof="0" dirty="0"/>
                        <a:t>Funcionários</a:t>
                      </a:r>
                      <a:endParaRPr lang="pt" sz="1600" b="1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" sz="1600"/>
                        <a:t>~21 k</a:t>
                      </a: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17307444"/>
                  </a:ext>
                </a:extLst>
              </a:tr>
            </a:tbl>
          </a:graphicData>
        </a:graphic>
      </p:graphicFrame>
      <p:pic>
        <p:nvPicPr>
          <p:cNvPr id="15" name="Graphic 14" descr="Dollar">
            <a:extLst>
              <a:ext uri="{FF2B5EF4-FFF2-40B4-BE49-F238E27FC236}">
                <a16:creationId xmlns:a16="http://schemas.microsoft.com/office/drawing/2014/main" xmlns="" id="{6ABB7290-2D99-426D-A9DE-1630D7519F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78190" y="4897620"/>
            <a:ext cx="624548" cy="62454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4ED7EC4C-3C93-4D6F-9957-BD7A21EEE27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857" y="5866329"/>
            <a:ext cx="696262" cy="696262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xmlns="" id="{43C85F56-0683-49AC-BD0C-4A09FE4C44D8}"/>
              </a:ext>
            </a:extLst>
          </p:cNvPr>
          <p:cNvSpPr txBox="1">
            <a:spLocks/>
          </p:cNvSpPr>
          <p:nvPr/>
        </p:nvSpPr>
        <p:spPr bwMode="gray">
          <a:xfrm>
            <a:off x="333264" y="6533034"/>
            <a:ext cx="1775460" cy="24531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91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pt" sz="800" b="0">
                <a:solidFill>
                  <a:schemeClr val="bg1">
                    <a:lumMod val="65000"/>
                  </a:schemeClr>
                </a:solidFill>
              </a:rPr>
              <a:t>Números para o ano fiscal de 2020</a:t>
            </a:r>
          </a:p>
        </p:txBody>
      </p:sp>
    </p:spTree>
    <p:extLst>
      <p:ext uri="{BB962C8B-B14F-4D97-AF65-F5344CB8AC3E}">
        <p14:creationId xmlns:p14="http://schemas.microsoft.com/office/powerpoint/2010/main" val="2489801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E95CC00E-2049-47BF-B4D6-85B1104E89FE}"/>
              </a:ext>
            </a:extLst>
          </p:cNvPr>
          <p:cNvSpPr/>
          <p:nvPr/>
        </p:nvSpPr>
        <p:spPr bwMode="gray">
          <a:xfrm>
            <a:off x="180975" y="5972175"/>
            <a:ext cx="12006495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400" dirty="0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xmlns="" id="{0558ECFF-2D28-45A0-A2F0-EE2A5EB972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264" y="682313"/>
            <a:ext cx="4746736" cy="396000"/>
          </a:xfrm>
        </p:spPr>
        <p:txBody>
          <a:bodyPr rtlCol="0"/>
          <a:lstStyle/>
          <a:p>
            <a:r>
              <a:rPr lang="en-US" dirty="0"/>
              <a:t>Process Automation</a:t>
            </a:r>
            <a:endParaRPr lang="pt"/>
          </a:p>
        </p:txBody>
      </p:sp>
      <p:pic>
        <p:nvPicPr>
          <p:cNvPr id="13" name="Picture 4">
            <a:extLst>
              <a:ext uri="{FF2B5EF4-FFF2-40B4-BE49-F238E27FC236}">
                <a16:creationId xmlns:a16="http://schemas.microsoft.com/office/drawing/2014/main" xmlns="" id="{37DCB1C4-4F97-4D98-BE13-F47E6AE003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5" r="-1"/>
          <a:stretch/>
        </p:blipFill>
        <p:spPr bwMode="auto">
          <a:xfrm>
            <a:off x="6090706" y="0"/>
            <a:ext cx="610129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9">
            <a:extLst>
              <a:ext uri="{FF2B5EF4-FFF2-40B4-BE49-F238E27FC236}">
                <a16:creationId xmlns:a16="http://schemas.microsoft.com/office/drawing/2014/main" xmlns="" id="{D4C9CDC5-083C-42F3-911A-0DAE1EADE8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45664" y="6393976"/>
            <a:ext cx="507600" cy="194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Content Placeholder 3">
            <a:extLst>
              <a:ext uri="{FF2B5EF4-FFF2-40B4-BE49-F238E27FC236}">
                <a16:creationId xmlns:a16="http://schemas.microsoft.com/office/drawing/2014/main" xmlns="" id="{A01FF4AA-4439-4940-8849-97F5CE3C5C7D}"/>
              </a:ext>
            </a:extLst>
          </p:cNvPr>
          <p:cNvSpPr txBox="1">
            <a:spLocks/>
          </p:cNvSpPr>
          <p:nvPr/>
        </p:nvSpPr>
        <p:spPr bwMode="gray">
          <a:xfrm>
            <a:off x="333264" y="1547637"/>
            <a:ext cx="5694274" cy="2226078"/>
          </a:xfrm>
          <a:prstGeom prst="rect">
            <a:avLst/>
          </a:prstGeom>
        </p:spPr>
        <p:txBody>
          <a:bodyPr lIns="0" tIns="0" rIns="0" bIns="0" rtlCol="0"/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>
              <a:lnSpc>
                <a:spcPts val="2700"/>
              </a:lnSpc>
            </a:pPr>
            <a:r>
              <a:rPr lang="pt" sz="1600" b="1"/>
              <a:t>Escrevendo o futuro de operações seguras, inteligentes e sustentáveis.</a:t>
            </a:r>
            <a:r>
              <a:rPr lang="en-US" sz="1600" b="1" dirty="0"/>
              <a:t/>
            </a:r>
            <a:br>
              <a:rPr lang="en-US" sz="1600" b="1" dirty="0"/>
            </a:br>
            <a:endParaRPr lang="en-US" sz="1600" b="1" dirty="0"/>
          </a:p>
          <a:p>
            <a:pPr rtl="0">
              <a:lnSpc>
                <a:spcPts val="2700"/>
              </a:lnSpc>
            </a:pPr>
            <a:r>
              <a:rPr lang="pt" sz="1600">
                <a:ea typeface="ABBvoice Light" panose="020D0403020503020204" pitchFamily="34" charset="0"/>
                <a:cs typeface="ABBvoice Light" panose="020D0403020503020204" pitchFamily="34" charset="0"/>
              </a:rPr>
              <a:t>O negócio de </a:t>
            </a:r>
            <a:r>
              <a:rPr lang="pt-BR" sz="1600" dirty="0">
                <a:ea typeface="ABBvoice Light" panose="020D0403020503020204" pitchFamily="34" charset="0"/>
                <a:cs typeface="ABBvoice Light" panose="020D0403020503020204" pitchFamily="34" charset="0"/>
              </a:rPr>
              <a:t>Process Automation </a:t>
            </a:r>
            <a:r>
              <a:rPr lang="pt" sz="1600">
                <a:ea typeface="ABBvoice Light" panose="020D0403020503020204" pitchFamily="34" charset="0"/>
                <a:cs typeface="ABBvoice Light" panose="020D0403020503020204" pitchFamily="34" charset="0"/>
              </a:rPr>
              <a:t>da ABB oferece uma ampla gama de soluções para indústrias de processo e híbridas, incluindo automação integrada, soluções de </a:t>
            </a:r>
            <a:r>
              <a:rPr lang="pt-BR" sz="1600" dirty="0">
                <a:ea typeface="ABBvoice Light" panose="020D0403020503020204" pitchFamily="34" charset="0"/>
                <a:cs typeface="ABBvoice Light" panose="020D0403020503020204" pitchFamily="34" charset="0"/>
              </a:rPr>
              <a:t>eletrificação</a:t>
            </a:r>
            <a:r>
              <a:rPr lang="pt" sz="1600">
                <a:ea typeface="ABBvoice Light" panose="020D0403020503020204" pitchFamily="34" charset="0"/>
                <a:cs typeface="ABBvoice Light" panose="020D0403020503020204" pitchFamily="34" charset="0"/>
              </a:rPr>
              <a:t> e digitais específicas para a indústria, tecnologias de controle, software e serviços avançados, bem como medições e análises, e ofertas marítimas e de turboalimentação.</a:t>
            </a:r>
          </a:p>
          <a:p>
            <a:pPr marL="176213" marR="0" lvl="0" indent="-176213" algn="l" defTabSz="914491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ABBvoice"/>
              <a:cs typeface="ABBvoice"/>
            </a:endParaRPr>
          </a:p>
        </p:txBody>
      </p:sp>
      <p:graphicFrame>
        <p:nvGraphicFramePr>
          <p:cNvPr id="18" name="Table 43">
            <a:extLst>
              <a:ext uri="{FF2B5EF4-FFF2-40B4-BE49-F238E27FC236}">
                <a16:creationId xmlns:a16="http://schemas.microsoft.com/office/drawing/2014/main" xmlns="" id="{54A660DA-4095-4AFD-B100-F5EF8EFC00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1088865"/>
              </p:ext>
            </p:extLst>
          </p:nvPr>
        </p:nvGraphicFramePr>
        <p:xfrm>
          <a:off x="1463564" y="4840796"/>
          <a:ext cx="3312000" cy="1872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64000">
                  <a:extLst>
                    <a:ext uri="{9D8B030D-6E8A-4147-A177-3AD203B41FA5}">
                      <a16:colId xmlns:a16="http://schemas.microsoft.com/office/drawing/2014/main" xmlns="" val="1932583887"/>
                    </a:ext>
                  </a:extLst>
                </a:gridCol>
                <a:gridCol w="1548000">
                  <a:extLst>
                    <a:ext uri="{9D8B030D-6E8A-4147-A177-3AD203B41FA5}">
                      <a16:colId xmlns:a16="http://schemas.microsoft.com/office/drawing/2014/main" xmlns="" val="3003757308"/>
                    </a:ext>
                  </a:extLst>
                </a:gridCol>
              </a:tblGrid>
              <a:tr h="936000">
                <a:tc>
                  <a:txBody>
                    <a:bodyPr/>
                    <a:lstStyle/>
                    <a:p>
                      <a:pPr rtl="0"/>
                      <a:r>
                        <a:rPr lang="pt" sz="1600" b="1" noProof="0"/>
                        <a:t>Receita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" sz="1600"/>
                        <a:t>$5.8 bn</a:t>
                      </a:r>
                      <a:endParaRPr lang="en-US" sz="16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194846342"/>
                  </a:ext>
                </a:extLst>
              </a:tr>
              <a:tr h="936000">
                <a:tc>
                  <a:txBody>
                    <a:bodyPr/>
                    <a:lstStyle/>
                    <a:p>
                      <a:pPr rtl="0"/>
                      <a:r>
                        <a:rPr lang="pt-BR" sz="1600" b="1" noProof="0" dirty="0"/>
                        <a:t>Funcionários</a:t>
                      </a:r>
                      <a:endParaRPr lang="pt" sz="1600" b="1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" sz="1600"/>
                        <a:t>~22 k</a:t>
                      </a: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17307444"/>
                  </a:ext>
                </a:extLst>
              </a:tr>
            </a:tbl>
          </a:graphicData>
        </a:graphic>
      </p:graphicFrame>
      <p:pic>
        <p:nvPicPr>
          <p:cNvPr id="19" name="Graphic 18" descr="Dollar">
            <a:extLst>
              <a:ext uri="{FF2B5EF4-FFF2-40B4-BE49-F238E27FC236}">
                <a16:creationId xmlns:a16="http://schemas.microsoft.com/office/drawing/2014/main" xmlns="" id="{C197588F-18B6-4497-8324-7174BC744A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78190" y="5080500"/>
            <a:ext cx="624548" cy="62454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45585926-CCC9-4014-8927-2F2E79FFB6E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857" y="5866329"/>
            <a:ext cx="696262" cy="696262"/>
          </a:xfrm>
          <a:prstGeom prst="rect">
            <a:avLst/>
          </a:prstGeom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xmlns="" id="{DE6472A7-A0F4-4A57-AF89-0016B8B7EB56}"/>
              </a:ext>
            </a:extLst>
          </p:cNvPr>
          <p:cNvSpPr txBox="1">
            <a:spLocks/>
          </p:cNvSpPr>
          <p:nvPr/>
        </p:nvSpPr>
        <p:spPr bwMode="gray">
          <a:xfrm>
            <a:off x="333264" y="6533034"/>
            <a:ext cx="1775460" cy="24531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91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pt" sz="800" b="0">
                <a:solidFill>
                  <a:schemeClr val="bg1">
                    <a:lumMod val="65000"/>
                  </a:schemeClr>
                </a:solidFill>
              </a:rPr>
              <a:t>Números para o ano fiscal de 2020</a:t>
            </a:r>
          </a:p>
        </p:txBody>
      </p:sp>
    </p:spTree>
    <p:extLst>
      <p:ext uri="{BB962C8B-B14F-4D97-AF65-F5344CB8AC3E}">
        <p14:creationId xmlns:p14="http://schemas.microsoft.com/office/powerpoint/2010/main" val="2194562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E95CC00E-2049-47BF-B4D6-85B1104E89FE}"/>
              </a:ext>
            </a:extLst>
          </p:cNvPr>
          <p:cNvSpPr/>
          <p:nvPr/>
        </p:nvSpPr>
        <p:spPr bwMode="gray">
          <a:xfrm>
            <a:off x="180975" y="5972175"/>
            <a:ext cx="12006495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400" dirty="0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xmlns="" id="{0558ECFF-2D28-45A0-A2F0-EE2A5EB972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264" y="682313"/>
            <a:ext cx="5831200" cy="396000"/>
          </a:xfrm>
        </p:spPr>
        <p:txBody>
          <a:bodyPr rtlCol="0"/>
          <a:lstStyle/>
          <a:p>
            <a:pPr rtl="0"/>
            <a:r>
              <a:rPr lang="pt-BR" dirty="0"/>
              <a:t>Robotics &amp; Discrete Automation</a:t>
            </a:r>
            <a:r>
              <a:rPr lang="pt" dirty="0"/>
              <a:t>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0BD7C425-2259-48EC-BFE8-B117D45AD5A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0707" y="0"/>
            <a:ext cx="6096000" cy="6858000"/>
          </a:xfrm>
          <a:prstGeom prst="rect">
            <a:avLst/>
          </a:prstGeom>
        </p:spPr>
      </p:pic>
      <p:pic>
        <p:nvPicPr>
          <p:cNvPr id="11" name="Picture 19">
            <a:extLst>
              <a:ext uri="{FF2B5EF4-FFF2-40B4-BE49-F238E27FC236}">
                <a16:creationId xmlns:a16="http://schemas.microsoft.com/office/drawing/2014/main" xmlns="" id="{D4C9CDC5-083C-42F3-911A-0DAE1EADE8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45664" y="6393976"/>
            <a:ext cx="507600" cy="194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ontent Placeholder 3">
            <a:extLst>
              <a:ext uri="{FF2B5EF4-FFF2-40B4-BE49-F238E27FC236}">
                <a16:creationId xmlns:a16="http://schemas.microsoft.com/office/drawing/2014/main" xmlns="" id="{3412DF41-5C4B-4CFA-8284-654E3992085B}"/>
              </a:ext>
            </a:extLst>
          </p:cNvPr>
          <p:cNvSpPr txBox="1">
            <a:spLocks/>
          </p:cNvSpPr>
          <p:nvPr/>
        </p:nvSpPr>
        <p:spPr bwMode="gray">
          <a:xfrm>
            <a:off x="333264" y="1547637"/>
            <a:ext cx="5694274" cy="2226078"/>
          </a:xfrm>
          <a:prstGeom prst="rect">
            <a:avLst/>
          </a:prstGeom>
        </p:spPr>
        <p:txBody>
          <a:bodyPr lIns="0" tIns="0" rIns="0" bIns="0" rtlCol="0"/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>
              <a:lnSpc>
                <a:spcPts val="2700"/>
              </a:lnSpc>
            </a:pPr>
            <a:r>
              <a:rPr lang="pt" sz="1600" b="1" dirty="0"/>
              <a:t>Escrevendo o futuro da fabricação flexível e das máquinas inteligentes.</a:t>
            </a:r>
            <a:r>
              <a:rPr lang="en-US" sz="1600" b="1" dirty="0"/>
              <a:t/>
            </a:r>
            <a:br>
              <a:rPr lang="en-US" sz="1600" b="1" dirty="0"/>
            </a:br>
            <a:endParaRPr lang="en-US" sz="1600" b="1" dirty="0"/>
          </a:p>
          <a:p>
            <a:pPr rtl="0">
              <a:lnSpc>
                <a:spcPts val="2700"/>
              </a:lnSpc>
            </a:pPr>
            <a:r>
              <a:rPr lang="pt" sz="1600" dirty="0">
                <a:ea typeface="ABBvoice Light" panose="020D0403020503020204" pitchFamily="34" charset="0"/>
                <a:cs typeface="ABBvoice Light" panose="020D0403020503020204" pitchFamily="34" charset="0"/>
              </a:rPr>
              <a:t>Os negócios de </a:t>
            </a:r>
            <a:r>
              <a:rPr lang="pt-BR" sz="1600" dirty="0">
                <a:ea typeface="ABBvoice Light" panose="020D0403020503020204" pitchFamily="34" charset="0"/>
                <a:cs typeface="ABBvoice Light" panose="020D0403020503020204" pitchFamily="34" charset="0"/>
              </a:rPr>
              <a:t>Robotics &amp; Discrete Automation</a:t>
            </a:r>
            <a:r>
              <a:rPr lang="pt" sz="1600" dirty="0">
                <a:ea typeface="ABBvoice Light" panose="020D0403020503020204" pitchFamily="34" charset="0"/>
                <a:cs typeface="ABBvoice Light" panose="020D0403020503020204" pitchFamily="34" charset="0"/>
              </a:rPr>
              <a:t> da ABB fornecem soluções de valor agregado em robótica, automação de máquinas e fábricas. Nossas soluções integradas de automação, nossa experiência em aplicações em um amplo escopo de indústrias e nossa presença global proporcionam valor tangível ao cliente. </a:t>
            </a:r>
          </a:p>
          <a:p>
            <a:pPr marL="176213" marR="0" lvl="0" indent="-176213" algn="l" defTabSz="914491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ABBvoice"/>
              <a:cs typeface="ABBvoice"/>
            </a:endParaRPr>
          </a:p>
        </p:txBody>
      </p:sp>
      <p:graphicFrame>
        <p:nvGraphicFramePr>
          <p:cNvPr id="9" name="Table 43">
            <a:extLst>
              <a:ext uri="{FF2B5EF4-FFF2-40B4-BE49-F238E27FC236}">
                <a16:creationId xmlns:a16="http://schemas.microsoft.com/office/drawing/2014/main" xmlns="" id="{51FAE45F-1C4B-482E-BB3F-9264E5B71E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9263905"/>
              </p:ext>
            </p:extLst>
          </p:nvPr>
        </p:nvGraphicFramePr>
        <p:xfrm>
          <a:off x="1463564" y="4840796"/>
          <a:ext cx="3312000" cy="1872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64000">
                  <a:extLst>
                    <a:ext uri="{9D8B030D-6E8A-4147-A177-3AD203B41FA5}">
                      <a16:colId xmlns:a16="http://schemas.microsoft.com/office/drawing/2014/main" xmlns="" val="1932583887"/>
                    </a:ext>
                  </a:extLst>
                </a:gridCol>
                <a:gridCol w="1548000">
                  <a:extLst>
                    <a:ext uri="{9D8B030D-6E8A-4147-A177-3AD203B41FA5}">
                      <a16:colId xmlns:a16="http://schemas.microsoft.com/office/drawing/2014/main" xmlns="" val="3003757308"/>
                    </a:ext>
                  </a:extLst>
                </a:gridCol>
              </a:tblGrid>
              <a:tr h="936000">
                <a:tc>
                  <a:txBody>
                    <a:bodyPr/>
                    <a:lstStyle/>
                    <a:p>
                      <a:pPr rtl="0"/>
                      <a:r>
                        <a:rPr lang="pt" sz="1600" b="1" noProof="0"/>
                        <a:t>Receita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" sz="1600" dirty="0"/>
                        <a:t>2,9 bn</a:t>
                      </a:r>
                      <a:endParaRPr lang="en-US" sz="16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194846342"/>
                  </a:ext>
                </a:extLst>
              </a:tr>
              <a:tr h="936000">
                <a:tc>
                  <a:txBody>
                    <a:bodyPr/>
                    <a:lstStyle/>
                    <a:p>
                      <a:pPr rtl="0"/>
                      <a:r>
                        <a:rPr lang="pt-BR" sz="1600" b="1" noProof="0" dirty="0"/>
                        <a:t>Funcionários</a:t>
                      </a:r>
                      <a:endParaRPr lang="pt" sz="1600" b="1" noProof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" sz="1600" dirty="0"/>
                        <a:t>~11 k</a:t>
                      </a: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17307444"/>
                  </a:ext>
                </a:extLst>
              </a:tr>
            </a:tbl>
          </a:graphicData>
        </a:graphic>
      </p:graphicFrame>
      <p:pic>
        <p:nvPicPr>
          <p:cNvPr id="10" name="Graphic 9" descr="Dollar">
            <a:extLst>
              <a:ext uri="{FF2B5EF4-FFF2-40B4-BE49-F238E27FC236}">
                <a16:creationId xmlns:a16="http://schemas.microsoft.com/office/drawing/2014/main" xmlns="" id="{7C8A4418-57FD-44EE-A99B-AF9375E498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78190" y="4897620"/>
            <a:ext cx="624548" cy="62454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35B07616-5A0D-42E4-8747-1538E4D090F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857" y="5866329"/>
            <a:ext cx="696262" cy="696262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xmlns="" id="{9790CFB6-7A5E-4955-ABD2-8E11F27BD6C4}"/>
              </a:ext>
            </a:extLst>
          </p:cNvPr>
          <p:cNvSpPr txBox="1">
            <a:spLocks/>
          </p:cNvSpPr>
          <p:nvPr/>
        </p:nvSpPr>
        <p:spPr bwMode="gray">
          <a:xfrm>
            <a:off x="333264" y="6533034"/>
            <a:ext cx="1775460" cy="24531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91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pt" sz="800" b="0">
                <a:solidFill>
                  <a:schemeClr val="bg1">
                    <a:lumMod val="65000"/>
                  </a:schemeClr>
                </a:solidFill>
              </a:rPr>
              <a:t>Números para o ano fiscal de 2020</a:t>
            </a:r>
          </a:p>
        </p:txBody>
      </p:sp>
    </p:spTree>
    <p:extLst>
      <p:ext uri="{BB962C8B-B14F-4D97-AF65-F5344CB8AC3E}">
        <p14:creationId xmlns:p14="http://schemas.microsoft.com/office/powerpoint/2010/main" val="906561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FDAEB5F4-D346-4967-8C4B-E4E6C98CC0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pt" noProof="0"/>
              <a:t>Modelo de negócio totalmente descentralizado com 21 Divisõ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067FE808-58C8-4026-9A4F-263637688B48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 rtlCol="0"/>
          <a:lstStyle/>
          <a:p>
            <a:pPr rtl="0"/>
            <a:r>
              <a:rPr lang="pt"/>
              <a:t>4 de março de 2021</a:t>
            </a:r>
            <a:endParaRPr lang="en-US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xmlns="" id="{27AF37CB-D426-4FE2-A42F-945963A77AD5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 rtlCol="0"/>
          <a:lstStyle/>
          <a:p>
            <a:pPr rtl="0"/>
            <a:r>
              <a:rPr lang="pt" noProof="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188C2B40-C944-4D42-931A-E84BA1314A9D}"/>
              </a:ext>
            </a:extLst>
          </p:cNvPr>
          <p:cNvSpPr/>
          <p:nvPr/>
        </p:nvSpPr>
        <p:spPr bwMode="gray">
          <a:xfrm>
            <a:off x="0" y="5915025"/>
            <a:ext cx="12192000" cy="942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400" dirty="0"/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xmlns="" id="{978E76DB-3DED-44D5-AAA1-ABD0D2120321}"/>
              </a:ext>
            </a:extLst>
          </p:cNvPr>
          <p:cNvSpPr txBox="1">
            <a:spLocks/>
          </p:cNvSpPr>
          <p:nvPr/>
        </p:nvSpPr>
        <p:spPr bwMode="gray">
          <a:xfrm>
            <a:off x="329807" y="3754524"/>
            <a:ext cx="1129776" cy="229467"/>
          </a:xfrm>
          <a:prstGeom prst="rect">
            <a:avLst/>
          </a:prstGeom>
          <a:noFill/>
          <a:ln w="12700">
            <a:noFill/>
          </a:ln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0"/>
              </a:spcBef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0"/>
              </a:spcBef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0"/>
              </a:spcBef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>
              <a:spcBef>
                <a:spcPts val="600"/>
              </a:spcBef>
            </a:pPr>
            <a:r>
              <a:rPr lang="pt" sz="1400" spc="200">
                <a:ea typeface="ABBvoice Light" panose="020D0403020503020204" pitchFamily="34" charset="0"/>
                <a:cs typeface="ABBvoice Light" panose="020D0403020503020204" pitchFamily="34" charset="0"/>
              </a:rPr>
              <a:t>DIVISÃO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xmlns="" id="{31CDD180-BECB-4F79-80C6-2C4B4A09B5F2}"/>
              </a:ext>
            </a:extLst>
          </p:cNvPr>
          <p:cNvSpPr txBox="1">
            <a:spLocks/>
          </p:cNvSpPr>
          <p:nvPr/>
        </p:nvSpPr>
        <p:spPr bwMode="gray">
          <a:xfrm>
            <a:off x="329807" y="2024516"/>
            <a:ext cx="1309722" cy="396000"/>
          </a:xfrm>
          <a:prstGeom prst="rect">
            <a:avLst/>
          </a:prstGeom>
          <a:noFill/>
          <a:ln w="12700">
            <a:noFill/>
          </a:ln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0"/>
              </a:spcBef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0"/>
              </a:spcBef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0"/>
              </a:spcBef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>
              <a:spcBef>
                <a:spcPts val="600"/>
              </a:spcBef>
            </a:pPr>
            <a:r>
              <a:rPr lang="pt" sz="1400" spc="200" dirty="0">
                <a:solidFill>
                  <a:schemeClr val="tx1"/>
                </a:solidFill>
                <a:ea typeface="ABBvoice Light" panose="020D0403020503020204" pitchFamily="34" charset="0"/>
                <a:cs typeface="ABBvoice Light" panose="020D0403020503020204" pitchFamily="34" charset="0"/>
              </a:rPr>
              <a:t>ÁREAs DE NEGÓCIO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xmlns="" id="{E61C2AAE-5349-466E-B86A-7839AC274638}"/>
              </a:ext>
            </a:extLst>
          </p:cNvPr>
          <p:cNvGrpSpPr/>
          <p:nvPr/>
        </p:nvGrpSpPr>
        <p:grpSpPr>
          <a:xfrm>
            <a:off x="6873414" y="1934103"/>
            <a:ext cx="2412000" cy="4705316"/>
            <a:chOff x="4300208" y="1934103"/>
            <a:chExt cx="2412000" cy="4705316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xmlns="" id="{03D1531E-5F67-4BE7-9B91-14DD311248BF}"/>
                </a:ext>
              </a:extLst>
            </p:cNvPr>
            <p:cNvSpPr/>
            <p:nvPr/>
          </p:nvSpPr>
          <p:spPr bwMode="gray">
            <a:xfrm>
              <a:off x="4300208" y="1934103"/>
              <a:ext cx="2412000" cy="4705316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pic>
          <p:nvPicPr>
            <p:cNvPr id="51" name="Picture 4">
              <a:extLst>
                <a:ext uri="{FF2B5EF4-FFF2-40B4-BE49-F238E27FC236}">
                  <a16:creationId xmlns:a16="http://schemas.microsoft.com/office/drawing/2014/main" xmlns="" id="{93F8D138-E1DC-4BDD-B18C-F1843CE032E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417871" y="2475144"/>
              <a:ext cx="2176674" cy="1129569"/>
            </a:xfrm>
            <a:prstGeom prst="rect">
              <a:avLst/>
            </a:prstGeom>
            <a:solidFill>
              <a:schemeClr val="accent1"/>
            </a:solidFill>
          </p:spPr>
        </p:pic>
        <p:sp>
          <p:nvSpPr>
            <p:cNvPr id="53" name="Rektangel 16">
              <a:extLst>
                <a:ext uri="{FF2B5EF4-FFF2-40B4-BE49-F238E27FC236}">
                  <a16:creationId xmlns:a16="http://schemas.microsoft.com/office/drawing/2014/main" xmlns="" id="{A50120BC-4D92-4E7D-A5C6-0544A01885D0}"/>
                </a:ext>
              </a:extLst>
            </p:cNvPr>
            <p:cNvSpPr/>
            <p:nvPr/>
          </p:nvSpPr>
          <p:spPr>
            <a:xfrm rot="5400000">
              <a:off x="5361543" y="2787518"/>
              <a:ext cx="298800" cy="21744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ctr"/>
            <a:lstStyle/>
            <a:p>
              <a:pPr algn="ctr" defTabSz="685800"/>
              <a:r>
                <a:rPr lang="en-US" sz="1200" b="1" dirty="0">
                  <a:solidFill>
                    <a:schemeClr val="tx2"/>
                  </a:solidFill>
                  <a:latin typeface="ABBvoice" panose="020D0603020503020204" pitchFamily="34" charset="0"/>
                  <a:ea typeface="ABBvoice" panose="020D0603020503020204" pitchFamily="34" charset="0"/>
                  <a:cs typeface="ABBvoice" panose="020D0603020503020204" pitchFamily="34" charset="0"/>
                </a:rPr>
                <a:t>Energy Industries</a:t>
              </a:r>
            </a:p>
          </p:txBody>
        </p:sp>
        <p:sp>
          <p:nvSpPr>
            <p:cNvPr id="57" name="Rektangel 16">
              <a:extLst>
                <a:ext uri="{FF2B5EF4-FFF2-40B4-BE49-F238E27FC236}">
                  <a16:creationId xmlns:a16="http://schemas.microsoft.com/office/drawing/2014/main" xmlns="" id="{026DB3CE-4367-4AF2-A603-17AA087BC072}"/>
                </a:ext>
              </a:extLst>
            </p:cNvPr>
            <p:cNvSpPr/>
            <p:nvPr/>
          </p:nvSpPr>
          <p:spPr>
            <a:xfrm rot="5400000">
              <a:off x="5364093" y="3143622"/>
              <a:ext cx="298800" cy="21744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ctr"/>
            <a:lstStyle/>
            <a:p>
              <a:pPr algn="ctr" defTabSz="685800"/>
              <a:r>
                <a:rPr lang="en-US" sz="1200" b="1" dirty="0">
                  <a:solidFill>
                    <a:schemeClr val="tx2"/>
                  </a:solidFill>
                  <a:latin typeface="ABBvoice" panose="020D0603020503020204" pitchFamily="34" charset="0"/>
                  <a:ea typeface="ABBvoice" panose="020D0603020503020204" pitchFamily="34" charset="0"/>
                  <a:cs typeface="ABBvoice" panose="020D0603020503020204" pitchFamily="34" charset="0"/>
                </a:rPr>
                <a:t>Process Industries</a:t>
              </a:r>
            </a:p>
          </p:txBody>
        </p:sp>
        <p:sp>
          <p:nvSpPr>
            <p:cNvPr id="58" name="Rektangel 16">
              <a:extLst>
                <a:ext uri="{FF2B5EF4-FFF2-40B4-BE49-F238E27FC236}">
                  <a16:creationId xmlns:a16="http://schemas.microsoft.com/office/drawing/2014/main" xmlns="" id="{5EF43B1C-9A6B-441A-81F2-D232D9CD6021}"/>
                </a:ext>
              </a:extLst>
            </p:cNvPr>
            <p:cNvSpPr/>
            <p:nvPr/>
          </p:nvSpPr>
          <p:spPr>
            <a:xfrm rot="5400000">
              <a:off x="5361543" y="3499726"/>
              <a:ext cx="298800" cy="21744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ctr"/>
            <a:lstStyle/>
            <a:p>
              <a:pPr algn="ctr" defTabSz="685800"/>
              <a:r>
                <a:rPr lang="en-US" sz="1200" b="1" dirty="0">
                  <a:solidFill>
                    <a:schemeClr val="tx2"/>
                  </a:solidFill>
                  <a:latin typeface="ABBvoice" panose="020D0603020503020204" pitchFamily="34" charset="0"/>
                  <a:ea typeface="ABBvoice" panose="020D0603020503020204" pitchFamily="34" charset="0"/>
                  <a:cs typeface="ABBvoice" panose="020D0603020503020204" pitchFamily="34" charset="0"/>
                </a:rPr>
                <a:t>Marine &amp; Ports</a:t>
              </a:r>
            </a:p>
          </p:txBody>
        </p:sp>
        <p:sp>
          <p:nvSpPr>
            <p:cNvPr id="59" name="Rektangel 16">
              <a:extLst>
                <a:ext uri="{FF2B5EF4-FFF2-40B4-BE49-F238E27FC236}">
                  <a16:creationId xmlns:a16="http://schemas.microsoft.com/office/drawing/2014/main" xmlns="" id="{FA417125-8C46-4362-A5DC-FBA46D6A8E79}"/>
                </a:ext>
              </a:extLst>
            </p:cNvPr>
            <p:cNvSpPr/>
            <p:nvPr/>
          </p:nvSpPr>
          <p:spPr>
            <a:xfrm rot="5400000">
              <a:off x="5361543" y="3855830"/>
              <a:ext cx="298800" cy="21744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ctr"/>
            <a:lstStyle/>
            <a:p>
              <a:pPr algn="ctr" defTabSz="685800"/>
              <a:r>
                <a:rPr lang="en-US" sz="1200" b="1" dirty="0">
                  <a:solidFill>
                    <a:schemeClr val="tx2"/>
                  </a:solidFill>
                  <a:latin typeface="ABBvoice" panose="020D0603020503020204" pitchFamily="34" charset="0"/>
                  <a:ea typeface="ABBvoice" panose="020D0603020503020204" pitchFamily="34" charset="0"/>
                  <a:cs typeface="ABBvoice" panose="020D0603020503020204" pitchFamily="34" charset="0"/>
                </a:rPr>
                <a:t>Turbocharging</a:t>
              </a:r>
            </a:p>
          </p:txBody>
        </p:sp>
        <p:sp>
          <p:nvSpPr>
            <p:cNvPr id="60" name="Rektangel 16">
              <a:extLst>
                <a:ext uri="{FF2B5EF4-FFF2-40B4-BE49-F238E27FC236}">
                  <a16:creationId xmlns:a16="http://schemas.microsoft.com/office/drawing/2014/main" xmlns="" id="{FB247114-0A48-41CB-9983-2C343F81BC8A}"/>
                </a:ext>
              </a:extLst>
            </p:cNvPr>
            <p:cNvSpPr/>
            <p:nvPr/>
          </p:nvSpPr>
          <p:spPr>
            <a:xfrm rot="5400000">
              <a:off x="5365210" y="4211934"/>
              <a:ext cx="298800" cy="21744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ctr"/>
            <a:lstStyle/>
            <a:p>
              <a:pPr algn="ctr" defTabSz="685800"/>
              <a:r>
                <a:rPr lang="en-US" sz="1200" b="1" dirty="0">
                  <a:solidFill>
                    <a:schemeClr val="tx2"/>
                  </a:solidFill>
                  <a:latin typeface="ABBvoice" panose="020D0603020503020204" pitchFamily="34" charset="0"/>
                  <a:ea typeface="ABBvoice" panose="020D0603020503020204" pitchFamily="34" charset="0"/>
                  <a:cs typeface="ABBvoice" panose="020D0603020503020204" pitchFamily="34" charset="0"/>
                </a:rPr>
                <a:t>Measurement &amp; Analytics</a:t>
              </a:r>
            </a:p>
          </p:txBody>
        </p:sp>
        <p:sp>
          <p:nvSpPr>
            <p:cNvPr id="61" name="Rektangel 8">
              <a:extLst>
                <a:ext uri="{FF2B5EF4-FFF2-40B4-BE49-F238E27FC236}">
                  <a16:creationId xmlns:a16="http://schemas.microsoft.com/office/drawing/2014/main" xmlns="" id="{DD266EA6-69A3-428D-8B41-BBE3E8101853}"/>
                </a:ext>
              </a:extLst>
            </p:cNvPr>
            <p:cNvSpPr/>
            <p:nvPr/>
          </p:nvSpPr>
          <p:spPr>
            <a:xfrm>
              <a:off x="4417871" y="1948427"/>
              <a:ext cx="2176674" cy="548178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sv-SE" sz="1400" b="1">
                  <a:solidFill>
                    <a:schemeClr val="tx1"/>
                  </a:solidFill>
                  <a:ea typeface="ABBvoice Light" panose="020D0403020503020204" pitchFamily="34" charset="0"/>
                  <a:cs typeface="ABBvoice Light" panose="020D0403020503020204" pitchFamily="34" charset="0"/>
                </a:rPr>
                <a:t>Process Automation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xmlns="" id="{26FE00EF-A4F6-414D-9B47-2F27CD85FF17}"/>
              </a:ext>
            </a:extLst>
          </p:cNvPr>
          <p:cNvGrpSpPr/>
          <p:nvPr/>
        </p:nvGrpSpPr>
        <p:grpSpPr>
          <a:xfrm>
            <a:off x="4300208" y="1934103"/>
            <a:ext cx="2412000" cy="4705316"/>
            <a:chOff x="6873414" y="1934103"/>
            <a:chExt cx="2412000" cy="4705316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xmlns="" id="{901A7D39-58AB-440E-ABD8-3CCB99DA4AA4}"/>
                </a:ext>
              </a:extLst>
            </p:cNvPr>
            <p:cNvSpPr/>
            <p:nvPr/>
          </p:nvSpPr>
          <p:spPr bwMode="gray">
            <a:xfrm>
              <a:off x="6873414" y="1934103"/>
              <a:ext cx="2412000" cy="4705316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64" name="Rektangel 16">
              <a:extLst>
                <a:ext uri="{FF2B5EF4-FFF2-40B4-BE49-F238E27FC236}">
                  <a16:creationId xmlns:a16="http://schemas.microsoft.com/office/drawing/2014/main" xmlns="" id="{688D3A1E-50F4-44B5-87A1-3B15E6D3045B}"/>
                </a:ext>
              </a:extLst>
            </p:cNvPr>
            <p:cNvSpPr/>
            <p:nvPr/>
          </p:nvSpPr>
          <p:spPr>
            <a:xfrm rot="5400000">
              <a:off x="7931151" y="2787518"/>
              <a:ext cx="298800" cy="21744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ctr"/>
            <a:lstStyle/>
            <a:p>
              <a:pPr algn="ctr" defTabSz="685800"/>
              <a:r>
                <a:rPr lang="en-US" sz="1200" b="1" dirty="0">
                  <a:solidFill>
                    <a:schemeClr val="tx2"/>
                  </a:solidFill>
                  <a:latin typeface="ABBvoice" panose="020D0603020503020204" pitchFamily="34" charset="0"/>
                  <a:ea typeface="ABBvoice" panose="020D0603020503020204" pitchFamily="34" charset="0"/>
                  <a:cs typeface="ABBvoice" panose="020D0603020503020204" pitchFamily="34" charset="0"/>
                </a:rPr>
                <a:t>IEC LV Motors</a:t>
              </a:r>
            </a:p>
          </p:txBody>
        </p:sp>
        <p:sp>
          <p:nvSpPr>
            <p:cNvPr id="65" name="Rektangel 16">
              <a:extLst>
                <a:ext uri="{FF2B5EF4-FFF2-40B4-BE49-F238E27FC236}">
                  <a16:creationId xmlns:a16="http://schemas.microsoft.com/office/drawing/2014/main" xmlns="" id="{BA846EBD-5CEA-423C-9769-942A5D9114A6}"/>
                </a:ext>
              </a:extLst>
            </p:cNvPr>
            <p:cNvSpPr/>
            <p:nvPr/>
          </p:nvSpPr>
          <p:spPr>
            <a:xfrm rot="5400000">
              <a:off x="7931151" y="3855830"/>
              <a:ext cx="298800" cy="21744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ctr"/>
            <a:lstStyle/>
            <a:p>
              <a:pPr algn="ctr" defTabSz="685800"/>
              <a:r>
                <a:rPr lang="en-US" sz="1200" b="1" dirty="0">
                  <a:solidFill>
                    <a:schemeClr val="tx2"/>
                  </a:solidFill>
                  <a:latin typeface="ABBvoice" panose="020D0603020503020204" pitchFamily="34" charset="0"/>
                  <a:ea typeface="ABBvoice" panose="020D0603020503020204" pitchFamily="34" charset="0"/>
                  <a:cs typeface="ABBvoice" panose="020D0603020503020204" pitchFamily="34" charset="0"/>
                </a:rPr>
                <a:t>Drive Products</a:t>
              </a:r>
            </a:p>
          </p:txBody>
        </p:sp>
        <p:sp>
          <p:nvSpPr>
            <p:cNvPr id="66" name="Rektangel 16">
              <a:extLst>
                <a:ext uri="{FF2B5EF4-FFF2-40B4-BE49-F238E27FC236}">
                  <a16:creationId xmlns:a16="http://schemas.microsoft.com/office/drawing/2014/main" xmlns="" id="{6A116ADC-8C45-409E-8EE3-7A6CBE647D8D}"/>
                </a:ext>
              </a:extLst>
            </p:cNvPr>
            <p:cNvSpPr/>
            <p:nvPr/>
          </p:nvSpPr>
          <p:spPr>
            <a:xfrm rot="5400000">
              <a:off x="7931151" y="4211934"/>
              <a:ext cx="298800" cy="21744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ctr"/>
            <a:lstStyle/>
            <a:p>
              <a:pPr algn="ctr" defTabSz="685800"/>
              <a:r>
                <a:rPr lang="en-US" sz="1200" b="1" dirty="0">
                  <a:solidFill>
                    <a:schemeClr val="tx2"/>
                  </a:solidFill>
                  <a:latin typeface="ABBvoice" panose="020D0603020503020204" pitchFamily="34" charset="0"/>
                  <a:ea typeface="ABBvoice" panose="020D0603020503020204" pitchFamily="34" charset="0"/>
                  <a:cs typeface="ABBvoice" panose="020D0603020503020204" pitchFamily="34" charset="0"/>
                </a:rPr>
                <a:t>Systems Drives</a:t>
              </a:r>
            </a:p>
          </p:txBody>
        </p:sp>
        <p:sp>
          <p:nvSpPr>
            <p:cNvPr id="67" name="Rektangel 16">
              <a:extLst>
                <a:ext uri="{FF2B5EF4-FFF2-40B4-BE49-F238E27FC236}">
                  <a16:creationId xmlns:a16="http://schemas.microsoft.com/office/drawing/2014/main" xmlns="" id="{E2506037-8315-4C9F-A5D2-8310E56A4F9B}"/>
                </a:ext>
              </a:extLst>
            </p:cNvPr>
            <p:cNvSpPr/>
            <p:nvPr/>
          </p:nvSpPr>
          <p:spPr>
            <a:xfrm rot="5400000">
              <a:off x="7931151" y="4568038"/>
              <a:ext cx="298800" cy="21744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ctr"/>
            <a:lstStyle/>
            <a:p>
              <a:pPr algn="ctr" defTabSz="685800"/>
              <a:r>
                <a:rPr lang="en-US" sz="1200" b="1" dirty="0">
                  <a:solidFill>
                    <a:schemeClr val="tx2"/>
                  </a:solidFill>
                  <a:latin typeface="ABBvoice" panose="020D0603020503020204" pitchFamily="34" charset="0"/>
                  <a:ea typeface="ABBvoice" panose="020D0603020503020204" pitchFamily="34" charset="0"/>
                  <a:cs typeface="ABBvoice" panose="020D0603020503020204" pitchFamily="34" charset="0"/>
                </a:rPr>
                <a:t>Service</a:t>
              </a:r>
            </a:p>
          </p:txBody>
        </p:sp>
        <p:sp>
          <p:nvSpPr>
            <p:cNvPr id="68" name="Rektangel 16">
              <a:extLst>
                <a:ext uri="{FF2B5EF4-FFF2-40B4-BE49-F238E27FC236}">
                  <a16:creationId xmlns:a16="http://schemas.microsoft.com/office/drawing/2014/main" xmlns="" id="{BF0CB94C-CA06-45FB-AF9D-E143221C5BB2}"/>
                </a:ext>
              </a:extLst>
            </p:cNvPr>
            <p:cNvSpPr/>
            <p:nvPr/>
          </p:nvSpPr>
          <p:spPr>
            <a:xfrm rot="5400000">
              <a:off x="7931151" y="4924142"/>
              <a:ext cx="298800" cy="21744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ctr"/>
            <a:lstStyle/>
            <a:p>
              <a:pPr algn="ctr" defTabSz="685800"/>
              <a:r>
                <a:rPr lang="en-US" sz="1200" b="1" dirty="0">
                  <a:solidFill>
                    <a:schemeClr val="tx2"/>
                  </a:solidFill>
                  <a:latin typeface="ABBvoice" panose="020D0603020503020204" pitchFamily="34" charset="0"/>
                  <a:ea typeface="ABBvoice" panose="020D0603020503020204" pitchFamily="34" charset="0"/>
                  <a:cs typeface="ABBvoice" panose="020D0603020503020204" pitchFamily="34" charset="0"/>
                </a:rPr>
                <a:t>Traction</a:t>
              </a:r>
            </a:p>
          </p:txBody>
        </p:sp>
        <p:sp>
          <p:nvSpPr>
            <p:cNvPr id="69" name="Rektangel 16">
              <a:extLst>
                <a:ext uri="{FF2B5EF4-FFF2-40B4-BE49-F238E27FC236}">
                  <a16:creationId xmlns:a16="http://schemas.microsoft.com/office/drawing/2014/main" xmlns="" id="{5004E2AE-C6E1-49BA-A316-433AC30AEF17}"/>
                </a:ext>
              </a:extLst>
            </p:cNvPr>
            <p:cNvSpPr/>
            <p:nvPr/>
          </p:nvSpPr>
          <p:spPr>
            <a:xfrm rot="5400000">
              <a:off x="7931151" y="5280244"/>
              <a:ext cx="298800" cy="21744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ctr"/>
            <a:lstStyle/>
            <a:p>
              <a:pPr algn="ctr" defTabSz="685800">
                <a:lnSpc>
                  <a:spcPts val="1500"/>
                </a:lnSpc>
              </a:pPr>
              <a:r>
                <a:rPr lang="en-US" sz="1100" b="1" dirty="0">
                  <a:solidFill>
                    <a:schemeClr val="tx2"/>
                  </a:solidFill>
                  <a:latin typeface="ABBvoice" panose="020D0603020503020204" pitchFamily="34" charset="0"/>
                  <a:ea typeface="ABBvoice" panose="020D0603020503020204" pitchFamily="34" charset="0"/>
                  <a:cs typeface="ABBvoice" panose="020D0603020503020204" pitchFamily="34" charset="0"/>
                </a:rPr>
                <a:t>Mechanical Power Transmission</a:t>
              </a:r>
            </a:p>
          </p:txBody>
        </p:sp>
        <p:sp>
          <p:nvSpPr>
            <p:cNvPr id="70" name="Rektangel 8">
              <a:extLst>
                <a:ext uri="{FF2B5EF4-FFF2-40B4-BE49-F238E27FC236}">
                  <a16:creationId xmlns:a16="http://schemas.microsoft.com/office/drawing/2014/main" xmlns="" id="{E21DD0DA-BD49-41E3-9253-AD7E25A2B58D}"/>
                </a:ext>
              </a:extLst>
            </p:cNvPr>
            <p:cNvSpPr/>
            <p:nvPr/>
          </p:nvSpPr>
          <p:spPr>
            <a:xfrm>
              <a:off x="6991658" y="1948427"/>
              <a:ext cx="2175512" cy="548178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sv-SE" sz="1400" b="1">
                  <a:solidFill>
                    <a:schemeClr val="tx1"/>
                  </a:solidFill>
                  <a:ea typeface="ABBvoice Light" panose="020D0403020503020204" pitchFamily="34" charset="0"/>
                  <a:cs typeface="ABBvoice Light" panose="020D0403020503020204" pitchFamily="34" charset="0"/>
                </a:rPr>
                <a:t>Motion</a:t>
              </a:r>
            </a:p>
          </p:txBody>
        </p:sp>
        <p:sp>
          <p:nvSpPr>
            <p:cNvPr id="71" name="Rektangel 16">
              <a:extLst>
                <a:ext uri="{FF2B5EF4-FFF2-40B4-BE49-F238E27FC236}">
                  <a16:creationId xmlns:a16="http://schemas.microsoft.com/office/drawing/2014/main" xmlns="" id="{4758C8DE-E817-42F0-B57D-23675EACEE1B}"/>
                </a:ext>
              </a:extLst>
            </p:cNvPr>
            <p:cNvSpPr/>
            <p:nvPr/>
          </p:nvSpPr>
          <p:spPr>
            <a:xfrm rot="5400000">
              <a:off x="7931151" y="3143622"/>
              <a:ext cx="298800" cy="21744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ctr"/>
            <a:lstStyle/>
            <a:p>
              <a:pPr algn="ctr" defTabSz="685800"/>
              <a:r>
                <a:rPr lang="en-US" sz="1200" b="1" dirty="0">
                  <a:solidFill>
                    <a:schemeClr val="tx2"/>
                  </a:solidFill>
                  <a:latin typeface="ABBvoice" panose="020D0603020503020204" pitchFamily="34" charset="0"/>
                  <a:ea typeface="ABBvoice" panose="020D0603020503020204" pitchFamily="34" charset="0"/>
                  <a:cs typeface="ABBvoice" panose="020D0603020503020204" pitchFamily="34" charset="0"/>
                </a:rPr>
                <a:t>Large Motors &amp; Generators</a:t>
              </a:r>
            </a:p>
          </p:txBody>
        </p:sp>
        <p:sp>
          <p:nvSpPr>
            <p:cNvPr id="72" name="Rektangel 16">
              <a:extLst>
                <a:ext uri="{FF2B5EF4-FFF2-40B4-BE49-F238E27FC236}">
                  <a16:creationId xmlns:a16="http://schemas.microsoft.com/office/drawing/2014/main" xmlns="" id="{13B1AAAF-CC05-441C-B5B0-340B4B3CFBBE}"/>
                </a:ext>
              </a:extLst>
            </p:cNvPr>
            <p:cNvSpPr/>
            <p:nvPr/>
          </p:nvSpPr>
          <p:spPr>
            <a:xfrm rot="5400000">
              <a:off x="7931151" y="3499726"/>
              <a:ext cx="298800" cy="21744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ctr"/>
            <a:lstStyle/>
            <a:p>
              <a:pPr algn="ctr" defTabSz="685800"/>
              <a:r>
                <a:rPr lang="en-US" sz="1200" b="1" dirty="0">
                  <a:solidFill>
                    <a:schemeClr val="tx2"/>
                  </a:solidFill>
                  <a:latin typeface="ABBvoice" panose="020D0603020503020204" pitchFamily="34" charset="0"/>
                  <a:ea typeface="ABBvoice" panose="020D0603020503020204" pitchFamily="34" charset="0"/>
                  <a:cs typeface="ABBvoice" panose="020D0603020503020204" pitchFamily="34" charset="0"/>
                </a:rPr>
                <a:t>NEMA Motors</a:t>
              </a:r>
            </a:p>
          </p:txBody>
        </p:sp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xmlns="" id="{C6A8B443-04C3-446A-AFB6-0B807D26F53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991077" y="2475145"/>
              <a:ext cx="2196548" cy="1129568"/>
            </a:xfrm>
            <a:prstGeom prst="rect">
              <a:avLst/>
            </a:prstGeom>
          </p:spPr>
        </p:pic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xmlns="" id="{6798C044-C1EC-4122-AF08-47BBEDB208E8}"/>
              </a:ext>
            </a:extLst>
          </p:cNvPr>
          <p:cNvGrpSpPr/>
          <p:nvPr/>
        </p:nvGrpSpPr>
        <p:grpSpPr>
          <a:xfrm>
            <a:off x="9446620" y="1934103"/>
            <a:ext cx="2412000" cy="4704822"/>
            <a:chOff x="9446620" y="1934103"/>
            <a:chExt cx="2412000" cy="4704822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9FF2684A-0EE8-43EB-9F3F-6FF66847AFE7}"/>
                </a:ext>
              </a:extLst>
            </p:cNvPr>
            <p:cNvSpPr/>
            <p:nvPr/>
          </p:nvSpPr>
          <p:spPr bwMode="gray">
            <a:xfrm>
              <a:off x="9446620" y="1934103"/>
              <a:ext cx="2412000" cy="470482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76" name="Rektangel 16">
              <a:extLst>
                <a:ext uri="{FF2B5EF4-FFF2-40B4-BE49-F238E27FC236}">
                  <a16:creationId xmlns:a16="http://schemas.microsoft.com/office/drawing/2014/main" xmlns="" id="{86D66AB5-8C1B-491C-A7AB-972D50FB85B8}"/>
                </a:ext>
              </a:extLst>
            </p:cNvPr>
            <p:cNvSpPr/>
            <p:nvPr/>
          </p:nvSpPr>
          <p:spPr>
            <a:xfrm rot="5400000">
              <a:off x="10504357" y="2787518"/>
              <a:ext cx="298800" cy="21744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ctr"/>
            <a:lstStyle/>
            <a:p>
              <a:pPr algn="ctr" defTabSz="685800"/>
              <a:r>
                <a:rPr lang="en-US" sz="1200" b="1" dirty="0">
                  <a:solidFill>
                    <a:schemeClr val="tx2"/>
                  </a:solidFill>
                  <a:latin typeface="ABBvoice" panose="020D0603020503020204" pitchFamily="34" charset="0"/>
                  <a:ea typeface="ABBvoice" panose="020D0603020503020204" pitchFamily="34" charset="0"/>
                  <a:cs typeface="ABBvoice" panose="020D0603020503020204" pitchFamily="34" charset="0"/>
                </a:rPr>
                <a:t>Robotics</a:t>
              </a:r>
            </a:p>
          </p:txBody>
        </p:sp>
        <p:sp>
          <p:nvSpPr>
            <p:cNvPr id="77" name="Rektangel 16">
              <a:extLst>
                <a:ext uri="{FF2B5EF4-FFF2-40B4-BE49-F238E27FC236}">
                  <a16:creationId xmlns:a16="http://schemas.microsoft.com/office/drawing/2014/main" xmlns="" id="{3F15CBE6-12B7-4A89-9F0E-5D92923E2BCE}"/>
                </a:ext>
              </a:extLst>
            </p:cNvPr>
            <p:cNvSpPr/>
            <p:nvPr/>
          </p:nvSpPr>
          <p:spPr>
            <a:xfrm rot="5400000">
              <a:off x="10504357" y="3143622"/>
              <a:ext cx="298800" cy="21744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ctr"/>
            <a:lstStyle/>
            <a:p>
              <a:pPr algn="ctr" defTabSz="685800"/>
              <a:r>
                <a:rPr lang="en-US" sz="1200" b="1" dirty="0">
                  <a:solidFill>
                    <a:schemeClr val="tx2"/>
                  </a:solidFill>
                  <a:latin typeface="ABBvoice" panose="020D0603020503020204" pitchFamily="34" charset="0"/>
                  <a:ea typeface="ABBvoice" panose="020D0603020503020204" pitchFamily="34" charset="0"/>
                  <a:cs typeface="ABBvoice" panose="020D0603020503020204" pitchFamily="34" charset="0"/>
                </a:rPr>
                <a:t>Machine Automation</a:t>
              </a:r>
            </a:p>
          </p:txBody>
        </p:sp>
        <p:sp>
          <p:nvSpPr>
            <p:cNvPr id="78" name="Rektangel 10">
              <a:extLst>
                <a:ext uri="{FF2B5EF4-FFF2-40B4-BE49-F238E27FC236}">
                  <a16:creationId xmlns:a16="http://schemas.microsoft.com/office/drawing/2014/main" xmlns="" id="{4FA18BF9-2D74-4C8E-9E43-AF7F5B4C527B}"/>
                </a:ext>
              </a:extLst>
            </p:cNvPr>
            <p:cNvSpPr/>
            <p:nvPr/>
          </p:nvSpPr>
          <p:spPr>
            <a:xfrm>
              <a:off x="9556918" y="1948427"/>
              <a:ext cx="2191405" cy="548178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sv-SE" sz="1400" b="1">
                  <a:solidFill>
                    <a:schemeClr val="tx1"/>
                  </a:solidFill>
                  <a:ea typeface="ABBvoice Light" panose="020D0403020503020204" pitchFamily="34" charset="0"/>
                  <a:cs typeface="ABBvoice Light" panose="020D0403020503020204" pitchFamily="34" charset="0"/>
                </a:rPr>
                <a:t>Robotics &amp; </a:t>
              </a:r>
              <a:br>
                <a:rPr lang="sv-SE" sz="1400" b="1">
                  <a:solidFill>
                    <a:schemeClr val="tx1"/>
                  </a:solidFill>
                  <a:ea typeface="ABBvoice Light" panose="020D0403020503020204" pitchFamily="34" charset="0"/>
                  <a:cs typeface="ABBvoice Light" panose="020D0403020503020204" pitchFamily="34" charset="0"/>
                </a:rPr>
              </a:br>
              <a:r>
                <a:rPr lang="sv-SE" sz="1400" b="1">
                  <a:solidFill>
                    <a:schemeClr val="tx1"/>
                  </a:solidFill>
                  <a:ea typeface="ABBvoice Light" panose="020D0403020503020204" pitchFamily="34" charset="0"/>
                  <a:cs typeface="ABBvoice Light" panose="020D0403020503020204" pitchFamily="34" charset="0"/>
                </a:rPr>
                <a:t>Discrete Automation</a:t>
              </a:r>
            </a:p>
          </p:txBody>
        </p:sp>
        <p:pic>
          <p:nvPicPr>
            <p:cNvPr id="79" name="Picture 4">
              <a:extLst>
                <a:ext uri="{FF2B5EF4-FFF2-40B4-BE49-F238E27FC236}">
                  <a16:creationId xmlns:a16="http://schemas.microsoft.com/office/drawing/2014/main" xmlns="" id="{55143A40-8D0F-4DD9-B37B-01313556DBC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549552" y="2475144"/>
              <a:ext cx="2191405" cy="11295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0" name="Picture 19">
            <a:extLst>
              <a:ext uri="{FF2B5EF4-FFF2-40B4-BE49-F238E27FC236}">
                <a16:creationId xmlns:a16="http://schemas.microsoft.com/office/drawing/2014/main" xmlns="" id="{B318DF01-3F64-4E90-B095-ECF94CEAF2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45664" y="6393976"/>
            <a:ext cx="507600" cy="194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1" name="Group 80">
            <a:extLst>
              <a:ext uri="{FF2B5EF4-FFF2-40B4-BE49-F238E27FC236}">
                <a16:creationId xmlns:a16="http://schemas.microsoft.com/office/drawing/2014/main" xmlns="" id="{424F1E65-FBE8-46F0-B59F-19B78C155BE2}"/>
              </a:ext>
            </a:extLst>
          </p:cNvPr>
          <p:cNvGrpSpPr/>
          <p:nvPr/>
        </p:nvGrpSpPr>
        <p:grpSpPr>
          <a:xfrm>
            <a:off x="1727002" y="1934103"/>
            <a:ext cx="2412000" cy="4705316"/>
            <a:chOff x="1727002" y="1934103"/>
            <a:chExt cx="2412000" cy="4705316"/>
          </a:xfrm>
        </p:grpSpPr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xmlns="" id="{40E328F5-7093-450D-BDB7-F508BDA565C1}"/>
                </a:ext>
              </a:extLst>
            </p:cNvPr>
            <p:cNvGrpSpPr/>
            <p:nvPr/>
          </p:nvGrpSpPr>
          <p:grpSpPr>
            <a:xfrm>
              <a:off x="1727002" y="1934103"/>
              <a:ext cx="2412000" cy="4705316"/>
              <a:chOff x="1727002" y="1934103"/>
              <a:chExt cx="2412000" cy="4705316"/>
            </a:xfrm>
          </p:grpSpPr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xmlns="" id="{EBD98406-19C7-4596-A6E6-DA228FE4DCDC}"/>
                  </a:ext>
                </a:extLst>
              </p:cNvPr>
              <p:cNvSpPr/>
              <p:nvPr/>
            </p:nvSpPr>
            <p:spPr bwMode="gray">
              <a:xfrm>
                <a:off x="1727002" y="1934103"/>
                <a:ext cx="2412000" cy="470531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85" name="Rektangel 16">
                <a:extLst>
                  <a:ext uri="{FF2B5EF4-FFF2-40B4-BE49-F238E27FC236}">
                    <a16:creationId xmlns:a16="http://schemas.microsoft.com/office/drawing/2014/main" xmlns="" id="{3D94669D-E921-4CFD-9EB9-6988681E8D88}"/>
                  </a:ext>
                </a:extLst>
              </p:cNvPr>
              <p:cNvSpPr/>
              <p:nvPr/>
            </p:nvSpPr>
            <p:spPr>
              <a:xfrm rot="5400000">
                <a:off x="2783988" y="2787519"/>
                <a:ext cx="298800" cy="21744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0" tIns="0" rIns="0" bIns="0" rtlCol="0" anchor="ctr"/>
              <a:lstStyle/>
              <a:p>
                <a:pPr algn="ctr" defTabSz="685800"/>
                <a:r>
                  <a:rPr lang="en-US" sz="1200" b="1" dirty="0">
                    <a:solidFill>
                      <a:schemeClr val="tx2"/>
                    </a:solidFill>
                    <a:latin typeface="ABBvoice" panose="020D0603020503020204" pitchFamily="34" charset="0"/>
                    <a:ea typeface="ABBvoice" panose="020D0603020503020204" pitchFamily="34" charset="0"/>
                    <a:cs typeface="ABBvoice" panose="020D0603020503020204" pitchFamily="34" charset="0"/>
                  </a:rPr>
                  <a:t>Distribution Solutions</a:t>
                </a:r>
              </a:p>
            </p:txBody>
          </p:sp>
          <p:sp>
            <p:nvSpPr>
              <p:cNvPr id="86" name="Rektangel 16">
                <a:extLst>
                  <a:ext uri="{FF2B5EF4-FFF2-40B4-BE49-F238E27FC236}">
                    <a16:creationId xmlns:a16="http://schemas.microsoft.com/office/drawing/2014/main" xmlns="" id="{F89E956A-B8C1-437C-BB23-9E0F48FD05BD}"/>
                  </a:ext>
                </a:extLst>
              </p:cNvPr>
              <p:cNvSpPr/>
              <p:nvPr/>
            </p:nvSpPr>
            <p:spPr>
              <a:xfrm rot="5400000">
                <a:off x="2783621" y="3143622"/>
                <a:ext cx="298800" cy="21744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0" tIns="0" rIns="0" bIns="0" rtlCol="0" anchor="ctr"/>
              <a:lstStyle/>
              <a:p>
                <a:pPr algn="ctr" defTabSz="685800"/>
                <a:r>
                  <a:rPr lang="en-US" sz="1200" b="1" dirty="0">
                    <a:solidFill>
                      <a:schemeClr val="tx2"/>
                    </a:solidFill>
                    <a:latin typeface="ABBvoice" panose="020D0603020503020204" pitchFamily="34" charset="0"/>
                    <a:ea typeface="ABBvoice" panose="020D0603020503020204" pitchFamily="34" charset="0"/>
                    <a:cs typeface="ABBvoice" panose="020D0603020503020204" pitchFamily="34" charset="0"/>
                  </a:rPr>
                  <a:t>Smart Power</a:t>
                </a:r>
              </a:p>
            </p:txBody>
          </p:sp>
          <p:sp>
            <p:nvSpPr>
              <p:cNvPr id="87" name="Rektangel 16">
                <a:extLst>
                  <a:ext uri="{FF2B5EF4-FFF2-40B4-BE49-F238E27FC236}">
                    <a16:creationId xmlns:a16="http://schemas.microsoft.com/office/drawing/2014/main" xmlns="" id="{A4A62781-AA56-4375-97B7-E1A5337BF6FB}"/>
                  </a:ext>
                </a:extLst>
              </p:cNvPr>
              <p:cNvSpPr/>
              <p:nvPr/>
            </p:nvSpPr>
            <p:spPr>
              <a:xfrm rot="5400000">
                <a:off x="2781072" y="3499726"/>
                <a:ext cx="298800" cy="21744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0" tIns="0" rIns="0" bIns="0" rtlCol="0" anchor="ctr"/>
              <a:lstStyle/>
              <a:p>
                <a:pPr algn="ctr" defTabSz="685800"/>
                <a:r>
                  <a:rPr lang="en-US" sz="1200" b="1" dirty="0">
                    <a:solidFill>
                      <a:schemeClr val="tx2"/>
                    </a:solidFill>
                    <a:latin typeface="ABBvoice" panose="020D0603020503020204" pitchFamily="34" charset="0"/>
                    <a:ea typeface="ABBvoice" panose="020D0603020503020204" pitchFamily="34" charset="0"/>
                    <a:cs typeface="ABBvoice" panose="020D0603020503020204" pitchFamily="34" charset="0"/>
                  </a:rPr>
                  <a:t>Smart Buildings</a:t>
                </a:r>
              </a:p>
            </p:txBody>
          </p:sp>
          <p:sp>
            <p:nvSpPr>
              <p:cNvPr id="88" name="Rektangel 16">
                <a:extLst>
                  <a:ext uri="{FF2B5EF4-FFF2-40B4-BE49-F238E27FC236}">
                    <a16:creationId xmlns:a16="http://schemas.microsoft.com/office/drawing/2014/main" xmlns="" id="{1FD0415E-C7F2-4414-8682-1A6EF7AF5AC4}"/>
                  </a:ext>
                </a:extLst>
              </p:cNvPr>
              <p:cNvSpPr/>
              <p:nvPr/>
            </p:nvSpPr>
            <p:spPr>
              <a:xfrm rot="5400000">
                <a:off x="2781072" y="3855830"/>
                <a:ext cx="298800" cy="21744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0" tIns="0" rIns="0" bIns="0" rtlCol="0" anchor="ctr"/>
              <a:lstStyle/>
              <a:p>
                <a:pPr algn="ctr" defTabSz="685800"/>
                <a:r>
                  <a:rPr lang="en-US" sz="1200" b="1" dirty="0">
                    <a:solidFill>
                      <a:schemeClr val="tx2"/>
                    </a:solidFill>
                    <a:latin typeface="ABBvoice"/>
                    <a:ea typeface="ABBvoice" panose="020D0603020503020204" pitchFamily="34" charset="0"/>
                    <a:cs typeface="ABBvoice" panose="020D0603020503020204" pitchFamily="34" charset="0"/>
                  </a:rPr>
                  <a:t>Installation Product</a:t>
                </a:r>
                <a:endParaRPr lang="en-US" sz="1200" b="1" dirty="0">
                  <a:solidFill>
                    <a:schemeClr val="tx2"/>
                  </a:solidFill>
                  <a:latin typeface="ABBvoice" panose="020D0603020503020204" pitchFamily="34" charset="0"/>
                  <a:ea typeface="ABBvoice" panose="020D0603020503020204" pitchFamily="34" charset="0"/>
                  <a:cs typeface="ABBvoice" panose="020D0603020503020204" pitchFamily="34" charset="0"/>
                </a:endParaRPr>
              </a:p>
            </p:txBody>
          </p:sp>
          <p:sp>
            <p:nvSpPr>
              <p:cNvPr id="89" name="Rektangel 16">
                <a:extLst>
                  <a:ext uri="{FF2B5EF4-FFF2-40B4-BE49-F238E27FC236}">
                    <a16:creationId xmlns:a16="http://schemas.microsoft.com/office/drawing/2014/main" xmlns="" id="{C998E153-93F8-4826-8B29-DE25E49EBD4B}"/>
                  </a:ext>
                </a:extLst>
              </p:cNvPr>
              <p:cNvSpPr/>
              <p:nvPr/>
            </p:nvSpPr>
            <p:spPr>
              <a:xfrm rot="5400000">
                <a:off x="2781072" y="4211934"/>
                <a:ext cx="298800" cy="21744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0" tIns="0" rIns="0" bIns="0" rtlCol="0" anchor="ctr"/>
              <a:lstStyle/>
              <a:p>
                <a:pPr algn="ctr" defTabSz="685800"/>
                <a:r>
                  <a:rPr lang="en-US" sz="1200" b="1" dirty="0">
                    <a:solidFill>
                      <a:schemeClr val="tx2"/>
                    </a:solidFill>
                    <a:latin typeface="ABBvoice" panose="020D0603020503020204" pitchFamily="34" charset="0"/>
                    <a:ea typeface="ABBvoice" panose="020D0603020503020204" pitchFamily="34" charset="0"/>
                    <a:cs typeface="ABBvoice" panose="020D0603020503020204" pitchFamily="34" charset="0"/>
                  </a:rPr>
                  <a:t>Power Conversion</a:t>
                </a:r>
              </a:p>
            </p:txBody>
          </p:sp>
          <p:sp>
            <p:nvSpPr>
              <p:cNvPr id="90" name="Rektangel 8">
                <a:extLst>
                  <a:ext uri="{FF2B5EF4-FFF2-40B4-BE49-F238E27FC236}">
                    <a16:creationId xmlns:a16="http://schemas.microsoft.com/office/drawing/2014/main" xmlns="" id="{838E1C91-D8E2-47F9-AA88-1BD57571F169}"/>
                  </a:ext>
                </a:extLst>
              </p:cNvPr>
              <p:cNvSpPr/>
              <p:nvPr/>
            </p:nvSpPr>
            <p:spPr>
              <a:xfrm>
                <a:off x="1848332" y="1948427"/>
                <a:ext cx="2169340" cy="548178"/>
              </a:xfrm>
              <a:prstGeom prst="rect">
                <a:avLst/>
              </a:prstGeom>
              <a:noFill/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r>
                  <a:rPr lang="sv-SE" sz="1400" b="1">
                    <a:solidFill>
                      <a:schemeClr val="tx1"/>
                    </a:solidFill>
                    <a:ea typeface="ABBvoice Light" panose="020D0403020503020204" pitchFamily="34" charset="0"/>
                    <a:cs typeface="ABBvoice Light" panose="020D0403020503020204" pitchFamily="34" charset="0"/>
                  </a:rPr>
                  <a:t>Electrification</a:t>
                </a:r>
              </a:p>
            </p:txBody>
          </p:sp>
          <p:sp>
            <p:nvSpPr>
              <p:cNvPr id="91" name="Rektangel 16">
                <a:extLst>
                  <a:ext uri="{FF2B5EF4-FFF2-40B4-BE49-F238E27FC236}">
                    <a16:creationId xmlns:a16="http://schemas.microsoft.com/office/drawing/2014/main" xmlns="" id="{13114251-9A61-4125-B1A6-64D892E59FA6}"/>
                  </a:ext>
                </a:extLst>
              </p:cNvPr>
              <p:cNvSpPr/>
              <p:nvPr/>
            </p:nvSpPr>
            <p:spPr>
              <a:xfrm rot="5400000">
                <a:off x="2781072" y="3888416"/>
                <a:ext cx="298800" cy="217440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0" tIns="0" rIns="0" bIns="0" rtlCol="0" anchor="ctr"/>
              <a:lstStyle/>
              <a:p>
                <a:pPr algn="ctr" defTabSz="685800"/>
                <a:r>
                  <a:rPr lang="en-US" sz="1200" b="1" dirty="0">
                    <a:solidFill>
                      <a:schemeClr val="tx2"/>
                    </a:solidFill>
                    <a:latin typeface="ABBvoice" panose="020D0603020503020204" pitchFamily="34" charset="0"/>
                    <a:ea typeface="ABBvoice" panose="020D0603020503020204" pitchFamily="34" charset="0"/>
                    <a:cs typeface="ABBvoice" panose="020D0603020503020204" pitchFamily="34" charset="0"/>
                  </a:rPr>
                  <a:t>E-mobility</a:t>
                </a:r>
                <a:endParaRPr lang="en-US" sz="1200" b="1" baseline="30000" dirty="0">
                  <a:solidFill>
                    <a:schemeClr val="tx2"/>
                  </a:solidFill>
                  <a:latin typeface="ABBvoice" panose="020D0603020503020204" pitchFamily="34" charset="0"/>
                  <a:ea typeface="ABBvoice" panose="020D0603020503020204" pitchFamily="34" charset="0"/>
                  <a:cs typeface="ABBvoice" panose="020D0603020503020204" pitchFamily="34" charset="0"/>
                </a:endParaRPr>
              </a:p>
            </p:txBody>
          </p:sp>
        </p:grpSp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xmlns="" id="{A1BD0F16-308E-49C1-B509-603620656D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9350" r="7936" b="16642"/>
            <a:stretch/>
          </p:blipFill>
          <p:spPr>
            <a:xfrm>
              <a:off x="1847751" y="2475144"/>
              <a:ext cx="2166204" cy="11295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55256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ECB80F4-EDFF-4BFF-8968-764E3DA518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9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6ECB80F4-EDFF-4BFF-8968-764E3DA518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38B68852-82DE-430C-AF5B-E9C70C57BD5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0" lang="en-US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6E4D1893-7CAE-44F9-8318-D62393636D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B no Brasil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98844BF6-66EB-4F04-9122-61BFCF2C8B4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AB2352-921F-4DD8-A99A-A1474F6943FF}" type="datetime4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A9A9A9"/>
                </a:solidFill>
                <a:effectLst/>
                <a:uLnTx/>
                <a:uFillTx/>
                <a:latin typeface="ABBvoice"/>
                <a:ea typeface="ABBvoice"/>
                <a:cs typeface="ABBvoice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June 18, 202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A9A9A9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4AF5C42-3451-4ADA-B792-3353785F504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marL="0" marR="0" lvl="8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A9A9A9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A25F9FB-736A-4DED-98FB-79F4F03575E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A9A9A9"/>
                </a:solidFill>
                <a:effectLst/>
                <a:uLnTx/>
                <a:uFillTx/>
                <a:latin typeface="ABBvoice"/>
                <a:ea typeface="ABBvoice"/>
                <a:cs typeface="ABBvoice"/>
              </a:rPr>
              <a:t>Slide </a:t>
            </a:r>
            <a:fld id="{619F89D8-7AE3-494A-97F3-03D68086963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A9A9A9"/>
                </a:solidFill>
                <a:effectLst/>
                <a:uLnTx/>
                <a:uFillTx/>
                <a:latin typeface="ABBvoice"/>
                <a:ea typeface="ABBvoice"/>
                <a:cs typeface="ABBvoice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A9A9A9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cxnSp>
        <p:nvCxnSpPr>
          <p:cNvPr id="10" name="Straight Connector 14">
            <a:extLst>
              <a:ext uri="{FF2B5EF4-FFF2-40B4-BE49-F238E27FC236}">
                <a16:creationId xmlns:a16="http://schemas.microsoft.com/office/drawing/2014/main" xmlns="" id="{71DCF114-E957-4878-A624-B0856D762883}"/>
              </a:ext>
            </a:extLst>
          </p:cNvPr>
          <p:cNvCxnSpPr>
            <a:cxnSpLocks/>
          </p:cNvCxnSpPr>
          <p:nvPr/>
        </p:nvCxnSpPr>
        <p:spPr bwMode="gray">
          <a:xfrm>
            <a:off x="339158" y="3421030"/>
            <a:ext cx="11520000" cy="0"/>
          </a:xfrm>
          <a:prstGeom prst="line">
            <a:avLst/>
          </a:prstGeom>
          <a:noFill/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Photo by Florencia Potter from Pexels">
            <a:extLst>
              <a:ext uri="{FF2B5EF4-FFF2-40B4-BE49-F238E27FC236}">
                <a16:creationId xmlns:a16="http://schemas.microsoft.com/office/drawing/2014/main" xmlns="" id="{4FD6C229-0D20-472B-9FF5-332844CE2ECC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accent6">
                <a:tint val="45000"/>
                <a:satMod val="400000"/>
              </a:schemeClr>
            </a:duotone>
          </a:blip>
          <a:srcRect/>
          <a:stretch/>
        </p:blipFill>
        <p:spPr>
          <a:xfrm>
            <a:off x="521437" y="1424274"/>
            <a:ext cx="2402213" cy="1696137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D54F5A0D-3E0F-428D-8C12-835109D8802C}"/>
              </a:ext>
            </a:extLst>
          </p:cNvPr>
          <p:cNvSpPr/>
          <p:nvPr/>
        </p:nvSpPr>
        <p:spPr>
          <a:xfrm>
            <a:off x="526553" y="4073305"/>
            <a:ext cx="2397097" cy="663934"/>
          </a:xfrm>
          <a:prstGeom prst="rect">
            <a:avLst/>
          </a:prstGeom>
        </p:spPr>
        <p:txBody>
          <a:bodyPr wrap="square" lIns="0" rIns="0" anchor="t">
            <a:noAutofit/>
          </a:bodyPr>
          <a:lstStyle/>
          <a:p>
            <a:pPr marL="0" lvl="1">
              <a:spcBef>
                <a:spcPts val="400"/>
              </a:spcBef>
              <a:defRPr/>
            </a:pPr>
            <a:r>
              <a:rPr lang="pt-BR" altLang="en-US" sz="1400" dirty="0"/>
              <a:t>Em 1912 houve o início das atividades no país com o fornecimento dos equipamentos elétricos para o 1º. Bondinho do Pão de Açúcar, no Rio de Janeiro. </a:t>
            </a:r>
            <a:br>
              <a:rPr lang="pt-BR" altLang="en-US" sz="1400" dirty="0"/>
            </a:b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13B0FA41-B676-4A30-836A-BCC285456835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3344624" y="1465528"/>
            <a:ext cx="2542544" cy="169397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B590632E-6405-4B0F-B186-0508B6321608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6304834" y="1463362"/>
            <a:ext cx="2265290" cy="1696136"/>
          </a:xfrm>
          <a:prstGeom prst="rect">
            <a:avLst/>
          </a:prstGeom>
        </p:spPr>
      </p:pic>
      <p:sp>
        <p:nvSpPr>
          <p:cNvPr id="29" name="Text Placeholder 11">
            <a:extLst>
              <a:ext uri="{FF2B5EF4-FFF2-40B4-BE49-F238E27FC236}">
                <a16:creationId xmlns:a16="http://schemas.microsoft.com/office/drawing/2014/main" xmlns="" id="{90A81570-C5CA-4C38-B1CB-E1933E11BE0C}"/>
              </a:ext>
            </a:extLst>
          </p:cNvPr>
          <p:cNvSpPr txBox="1">
            <a:spLocks/>
          </p:cNvSpPr>
          <p:nvPr/>
        </p:nvSpPr>
        <p:spPr bwMode="gray">
          <a:xfrm>
            <a:off x="526553" y="3501615"/>
            <a:ext cx="3096634" cy="227060"/>
          </a:xfrm>
          <a:prstGeom prst="rect">
            <a:avLst/>
          </a:prstGeom>
          <a:noFill/>
        </p:spPr>
        <p:txBody>
          <a:bodyPr lIns="0" tIns="0" rIns="0" anchor="t"/>
          <a:lstStyle>
            <a:lvl1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91" rtl="0" eaLnBrk="1" latinLnBrk="0" hangingPunct="1">
              <a:spcBef>
                <a:spcPts val="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90000"/>
                </a:solidFill>
                <a:effectLst/>
                <a:uLnTx/>
                <a:uFillTx/>
                <a:latin typeface="ABBvoice"/>
                <a:ea typeface="ABBvoice"/>
                <a:cs typeface="ABBvoice"/>
              </a:rPr>
              <a:t>Início da operação no Brasil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xmlns="" id="{BF54A764-2B44-46B3-8297-0F192C844765}"/>
              </a:ext>
            </a:extLst>
          </p:cNvPr>
          <p:cNvSpPr txBox="1">
            <a:spLocks/>
          </p:cNvSpPr>
          <p:nvPr/>
        </p:nvSpPr>
        <p:spPr bwMode="gray">
          <a:xfrm>
            <a:off x="7318934" y="3509690"/>
            <a:ext cx="4525363" cy="235377"/>
          </a:xfrm>
          <a:prstGeom prst="rect">
            <a:avLst/>
          </a:prstGeom>
          <a:noFill/>
        </p:spPr>
        <p:txBody>
          <a:bodyPr lIns="0" tIns="0" rIns="0" anchor="t"/>
          <a:lstStyle>
            <a:lvl1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91" rtl="0" eaLnBrk="1" latinLnBrk="0" hangingPunct="1">
              <a:spcBef>
                <a:spcPts val="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D9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xmlns="" id="{A2F773E7-D026-4400-9579-0BECA486652F}"/>
              </a:ext>
            </a:extLst>
          </p:cNvPr>
          <p:cNvSpPr txBox="1">
            <a:spLocks/>
          </p:cNvSpPr>
          <p:nvPr/>
        </p:nvSpPr>
        <p:spPr bwMode="gray">
          <a:xfrm>
            <a:off x="4175315" y="3511280"/>
            <a:ext cx="2793215" cy="235377"/>
          </a:xfrm>
          <a:prstGeom prst="rect">
            <a:avLst/>
          </a:prstGeom>
          <a:noFill/>
        </p:spPr>
        <p:txBody>
          <a:bodyPr lIns="0" tIns="0" rIns="0" anchor="t"/>
          <a:lstStyle>
            <a:lvl1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91" rtl="0" eaLnBrk="1" latinLnBrk="0" hangingPunct="1">
              <a:spcBef>
                <a:spcPts val="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D9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063626FB-8685-4805-8431-D54A7A6140CF}"/>
              </a:ext>
            </a:extLst>
          </p:cNvPr>
          <p:cNvSpPr/>
          <p:nvPr/>
        </p:nvSpPr>
        <p:spPr>
          <a:xfrm>
            <a:off x="3344625" y="4056863"/>
            <a:ext cx="2542544" cy="663934"/>
          </a:xfrm>
          <a:prstGeom prst="rect">
            <a:avLst/>
          </a:prstGeom>
        </p:spPr>
        <p:txBody>
          <a:bodyPr wrap="square" lIns="0" rIns="0" anchor="t">
            <a:noAutofit/>
          </a:bodyPr>
          <a:lstStyle/>
          <a:p>
            <a:pPr marL="0" lvl="1">
              <a:spcBef>
                <a:spcPts val="400"/>
              </a:spcBef>
              <a:defRPr/>
            </a:pPr>
            <a:r>
              <a:rPr lang="pt-BR" altLang="en-US" sz="1400" dirty="0"/>
              <a:t>A partir da década de 50, com a instalação de fábricas próprias no país</a:t>
            </a:r>
            <a:br>
              <a:rPr lang="pt-BR" altLang="en-US" sz="1400" dirty="0"/>
            </a:b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xmlns="" id="{587A6FB5-15AD-4181-A9D8-E8A429B37071}"/>
              </a:ext>
            </a:extLst>
          </p:cNvPr>
          <p:cNvSpPr txBox="1">
            <a:spLocks/>
          </p:cNvSpPr>
          <p:nvPr/>
        </p:nvSpPr>
        <p:spPr bwMode="gray">
          <a:xfrm>
            <a:off x="3344624" y="3519596"/>
            <a:ext cx="2542544" cy="235375"/>
          </a:xfrm>
          <a:prstGeom prst="rect">
            <a:avLst/>
          </a:prstGeom>
          <a:noFill/>
        </p:spPr>
        <p:txBody>
          <a:bodyPr lIns="0" tIns="0" rIns="0" anchor="t"/>
          <a:lstStyle>
            <a:lvl1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91" rtl="0" eaLnBrk="1" latinLnBrk="0" hangingPunct="1">
              <a:spcBef>
                <a:spcPts val="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90000"/>
                </a:solidFill>
                <a:effectLst/>
                <a:uLnTx/>
                <a:uFillTx/>
                <a:latin typeface="ABBvoice"/>
                <a:ea typeface="ABBvoice"/>
                <a:cs typeface="ABBvoice"/>
              </a:rPr>
              <a:t>Consolidação da ABB no mercado brasileiro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xmlns="" id="{CCBACDAA-4378-45A0-A8D7-8604473098AD}"/>
              </a:ext>
            </a:extLst>
          </p:cNvPr>
          <p:cNvSpPr txBox="1">
            <a:spLocks/>
          </p:cNvSpPr>
          <p:nvPr/>
        </p:nvSpPr>
        <p:spPr bwMode="gray">
          <a:xfrm>
            <a:off x="6304834" y="3501615"/>
            <a:ext cx="2400405" cy="219988"/>
          </a:xfrm>
          <a:prstGeom prst="rect">
            <a:avLst/>
          </a:prstGeom>
          <a:noFill/>
        </p:spPr>
        <p:txBody>
          <a:bodyPr lIns="0" tIns="0" rIns="0" anchor="t"/>
          <a:lstStyle>
            <a:lvl1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91" rtl="0" eaLnBrk="1" latinLnBrk="0" hangingPunct="1">
              <a:spcBef>
                <a:spcPts val="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90000"/>
                </a:solidFill>
                <a:effectLst/>
                <a:uLnTx/>
                <a:uFillTx/>
                <a:latin typeface="ABBvoice"/>
                <a:ea typeface="ABBvoice"/>
                <a:cs typeface="ABBvoice"/>
              </a:rPr>
              <a:t>Participação nos grandes projetos de desenvolvimento do paí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047789E9-6A9B-4028-AFED-1F43C0EECE39}"/>
              </a:ext>
            </a:extLst>
          </p:cNvPr>
          <p:cNvSpPr/>
          <p:nvPr/>
        </p:nvSpPr>
        <p:spPr>
          <a:xfrm>
            <a:off x="6204672" y="4192870"/>
            <a:ext cx="2397097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altLang="en-US" sz="1400" dirty="0"/>
              <a:t> A ABB participa dos principais projetos de infraestrutura e industrialização do país, como na Usina Hidrelétrica de Itaipu, em 1984.</a:t>
            </a:r>
            <a:endParaRPr lang="en-US" sz="1400" dirty="0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F62260A6-5EFC-4A43-B234-0CC05041EBAF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87790" y="1465528"/>
            <a:ext cx="2766708" cy="1696136"/>
          </a:xfrm>
          <a:prstGeom prst="rect">
            <a:avLst/>
          </a:prstGeom>
        </p:spPr>
      </p:pic>
      <p:sp>
        <p:nvSpPr>
          <p:cNvPr id="36" name="Text Placeholder 11">
            <a:extLst>
              <a:ext uri="{FF2B5EF4-FFF2-40B4-BE49-F238E27FC236}">
                <a16:creationId xmlns:a16="http://schemas.microsoft.com/office/drawing/2014/main" xmlns="" id="{8557D14B-5C69-4E97-BE16-7FFF6BDA05FE}"/>
              </a:ext>
            </a:extLst>
          </p:cNvPr>
          <p:cNvSpPr txBox="1">
            <a:spLocks/>
          </p:cNvSpPr>
          <p:nvPr/>
        </p:nvSpPr>
        <p:spPr bwMode="gray">
          <a:xfrm>
            <a:off x="9003496" y="3524330"/>
            <a:ext cx="2542544" cy="235375"/>
          </a:xfrm>
          <a:prstGeom prst="rect">
            <a:avLst/>
          </a:prstGeom>
          <a:noFill/>
        </p:spPr>
        <p:txBody>
          <a:bodyPr lIns="0" tIns="0" rIns="0" anchor="t"/>
          <a:lstStyle>
            <a:lvl1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91" rtl="0" eaLnBrk="1" latinLnBrk="0" hangingPunct="1">
              <a:spcBef>
                <a:spcPts val="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91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90000"/>
                </a:solidFill>
                <a:effectLst/>
                <a:uLnTx/>
                <a:uFillTx/>
                <a:latin typeface="ABBvoice"/>
                <a:ea typeface="ABBvoice"/>
                <a:cs typeface="ABBvoice"/>
              </a:rPr>
              <a:t>Ajudando a escrever o futuro do Brasi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DA323CEF-3762-4C56-B33D-D77CC5DBF2A4}"/>
              </a:ext>
            </a:extLst>
          </p:cNvPr>
          <p:cNvSpPr/>
          <p:nvPr/>
        </p:nvSpPr>
        <p:spPr>
          <a:xfrm>
            <a:off x="8989826" y="4192870"/>
            <a:ext cx="276467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altLang="en-US" sz="1400" dirty="0"/>
              <a:t>A companhia está impulsionando o país rumo à digitalização e modernização tecnológica de diversos setores da indústria. </a:t>
            </a:r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2163618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VVJT5QQzmDuMOk_VU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qH1mJO79KLpx75KkqA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0HLVBzm8gaaZihcPc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MSSNqqS5Sfh1M0EWa9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AJVMcTnzIHVLEpAnsibA"/>
</p:tagLst>
</file>

<file path=ppt/theme/theme1.xml><?xml version="1.0" encoding="utf-8"?>
<a:theme xmlns:a="http://schemas.openxmlformats.org/drawingml/2006/main" name="ABB Master">
  <a:themeElements>
    <a:clrScheme name="Custom 2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262626"/>
      </a:accent1>
      <a:accent2>
        <a:srgbClr val="6E6E6E"/>
      </a:accent2>
      <a:accent3>
        <a:srgbClr val="A9A9A9"/>
      </a:accent3>
      <a:accent4>
        <a:srgbClr val="D2D2D2"/>
      </a:accent4>
      <a:accent5>
        <a:srgbClr val="F0F0F0"/>
      </a:accent5>
      <a:accent6>
        <a:srgbClr val="FAFAFA"/>
      </a:accent6>
      <a:hlink>
        <a:srgbClr val="D90000"/>
      </a:hlink>
      <a:folHlink>
        <a:srgbClr val="FF000F"/>
      </a:folHlink>
    </a:clrScheme>
    <a:fontScheme name="ABBvoice">
      <a:majorFont>
        <a:latin typeface="ABBvoice"/>
        <a:ea typeface="ABBvoice"/>
        <a:cs typeface="ABBvoice"/>
      </a:majorFont>
      <a:minorFont>
        <a:latin typeface="ABBvoice"/>
        <a:ea typeface="ABBvoice"/>
        <a:cs typeface="ABBvo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72000" tIns="72000" rIns="72000" bIns="72000" rtlCol="0">
        <a:noAutofit/>
      </a:bodyPr>
      <a:lstStyle>
        <a:defPPr>
          <a:defRPr sz="1400" dirty="0" err="1" smtClean="0"/>
        </a:defPPr>
      </a:lstStyle>
    </a:txDef>
  </a:objectDefaults>
  <a:extraClrSchemeLst/>
  <a:custClrLst>
    <a:custClr name="Blue">
      <a:srgbClr val="004C97"/>
    </a:custClr>
    <a:custClr name="Green">
      <a:srgbClr val="007A33"/>
    </a:custClr>
    <a:custClr name="Yellow">
      <a:srgbClr val="FFD100"/>
    </a:custClr>
    <a:custClr name="Red Grey">
      <a:srgbClr val="817275"/>
    </a:custClr>
    <a:custClr name="Green Grey">
      <a:srgbClr val="6B7173"/>
    </a:custClr>
    <a:custClr name="Blue Grey">
      <a:srgbClr val="5B6F80"/>
    </a:custClr>
    <a:custClr name="Violet Grey">
      <a:srgbClr val="78838E"/>
    </a:custClr>
  </a:custClrLst>
  <a:extLst>
    <a:ext uri="{05A4C25C-085E-4340-85A3-A5531E510DB2}">
      <thm15:themeFamily xmlns:thm15="http://schemas.microsoft.com/office/thememl/2012/main" xmlns="" name="Presentation4" id="{AB123FCC-75BF-413D-9ADE-5DE1BC5101C9}" vid="{30A3DC37-1BE1-4015-B67A-9AB1D23BAC10}"/>
    </a:ext>
  </a:extLst>
</a:theme>
</file>

<file path=ppt/theme/theme2.xml><?xml version="1.0" encoding="utf-8"?>
<a:theme xmlns:a="http://schemas.openxmlformats.org/drawingml/2006/main" name="1_ABB Master">
  <a:themeElements>
    <a:clrScheme name="Custom 2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262626"/>
      </a:accent1>
      <a:accent2>
        <a:srgbClr val="6E6E6E"/>
      </a:accent2>
      <a:accent3>
        <a:srgbClr val="A9A9A9"/>
      </a:accent3>
      <a:accent4>
        <a:srgbClr val="D2D2D2"/>
      </a:accent4>
      <a:accent5>
        <a:srgbClr val="F0F0F0"/>
      </a:accent5>
      <a:accent6>
        <a:srgbClr val="FAFAFA"/>
      </a:accent6>
      <a:hlink>
        <a:srgbClr val="D90000"/>
      </a:hlink>
      <a:folHlink>
        <a:srgbClr val="FF000F"/>
      </a:folHlink>
    </a:clrScheme>
    <a:fontScheme name="ABBvoice">
      <a:majorFont>
        <a:latin typeface="ABBvoice"/>
        <a:ea typeface="ABBvoice"/>
        <a:cs typeface="ABBvoice"/>
      </a:majorFont>
      <a:minorFont>
        <a:latin typeface="ABBvoice"/>
        <a:ea typeface="ABBvoice"/>
        <a:cs typeface="ABBvo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72000" tIns="72000" rIns="72000" bIns="72000" rtlCol="0">
        <a:noAutofit/>
      </a:bodyPr>
      <a:lstStyle>
        <a:defPPr>
          <a:defRPr sz="1400" dirty="0" err="1" smtClean="0"/>
        </a:defPPr>
      </a:lstStyle>
    </a:txDef>
  </a:objectDefaults>
  <a:extraClrSchemeLst/>
  <a:custClrLst>
    <a:custClr name="Blue">
      <a:srgbClr val="004C97"/>
    </a:custClr>
    <a:custClr name="Green">
      <a:srgbClr val="007A33"/>
    </a:custClr>
    <a:custClr name="Yellow">
      <a:srgbClr val="FFD100"/>
    </a:custClr>
    <a:custClr name="Red Grey">
      <a:srgbClr val="817275"/>
    </a:custClr>
    <a:custClr name="Green Grey">
      <a:srgbClr val="6B7173"/>
    </a:custClr>
    <a:custClr name="Blue Grey">
      <a:srgbClr val="5B6F80"/>
    </a:custClr>
    <a:custClr name="Violet Grey">
      <a:srgbClr val="78838E"/>
    </a:custClr>
  </a:custClrLst>
  <a:extLst>
    <a:ext uri="{05A4C25C-085E-4340-85A3-A5531E510DB2}">
      <thm15:themeFamily xmlns:thm15="http://schemas.microsoft.com/office/thememl/2012/main" xmlns="" name="Presentation4" id="{AB123FCC-75BF-413D-9ADE-5DE1BC5101C9}" vid="{30A3DC37-1BE1-4015-B67A-9AB1D23BAC10}"/>
    </a:ext>
  </a:extLst>
</a:theme>
</file>

<file path=ppt/theme/theme3.xml><?xml version="1.0" encoding="utf-8"?>
<a:theme xmlns:a="http://schemas.openxmlformats.org/drawingml/2006/main" name="2_ABB Master">
  <a:themeElements>
    <a:clrScheme name="Custom 2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262626"/>
      </a:accent1>
      <a:accent2>
        <a:srgbClr val="6E6E6E"/>
      </a:accent2>
      <a:accent3>
        <a:srgbClr val="A9A9A9"/>
      </a:accent3>
      <a:accent4>
        <a:srgbClr val="D2D2D2"/>
      </a:accent4>
      <a:accent5>
        <a:srgbClr val="F0F0F0"/>
      </a:accent5>
      <a:accent6>
        <a:srgbClr val="FAFAFA"/>
      </a:accent6>
      <a:hlink>
        <a:srgbClr val="D90000"/>
      </a:hlink>
      <a:folHlink>
        <a:srgbClr val="FF000F"/>
      </a:folHlink>
    </a:clrScheme>
    <a:fontScheme name="ABBvoice">
      <a:majorFont>
        <a:latin typeface="ABBvoice"/>
        <a:ea typeface="ABBvoice"/>
        <a:cs typeface="ABBvoice"/>
      </a:majorFont>
      <a:minorFont>
        <a:latin typeface="ABBvoice"/>
        <a:ea typeface="ABBvoice"/>
        <a:cs typeface="ABBvo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72000" tIns="72000" rIns="72000" bIns="72000" rtlCol="0">
        <a:noAutofit/>
      </a:bodyPr>
      <a:lstStyle>
        <a:defPPr>
          <a:defRPr sz="1400" dirty="0" err="1" smtClean="0"/>
        </a:defPPr>
      </a:lstStyle>
    </a:txDef>
  </a:objectDefaults>
  <a:extraClrSchemeLst/>
  <a:custClrLst>
    <a:custClr name="Blue">
      <a:srgbClr val="004C97"/>
    </a:custClr>
    <a:custClr name="Green">
      <a:srgbClr val="007A33"/>
    </a:custClr>
    <a:custClr name="Yellow">
      <a:srgbClr val="FFD100"/>
    </a:custClr>
    <a:custClr name="Red Grey">
      <a:srgbClr val="817275"/>
    </a:custClr>
    <a:custClr name="Green Grey">
      <a:srgbClr val="6B7173"/>
    </a:custClr>
    <a:custClr name="Blue Grey">
      <a:srgbClr val="5B6F80"/>
    </a:custClr>
    <a:custClr name="Violet Grey">
      <a:srgbClr val="78838E"/>
    </a:custClr>
  </a:custClrLst>
  <a:extLst>
    <a:ext uri="{05A4C25C-085E-4340-85A3-A5531E510DB2}">
      <thm15:themeFamily xmlns:thm15="http://schemas.microsoft.com/office/thememl/2012/main" xmlns="" name="Presentation5" id="{B069121E-5E56-4163-A444-314B4EA0CE0D}" vid="{8BD5247B-ADA5-4D0E-AAC8-2C95A6EFA817}"/>
    </a:ext>
  </a:extLst>
</a:theme>
</file>

<file path=ppt/theme/theme4.xml><?xml version="1.0" encoding="utf-8"?>
<a:theme xmlns:a="http://schemas.openxmlformats.org/drawingml/2006/main" name="Office Theme">
  <a:themeElements>
    <a:clrScheme name="ABB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1E1E1E"/>
      </a:accent1>
      <a:accent2>
        <a:srgbClr val="3C3C3C"/>
      </a:accent2>
      <a:accent3>
        <a:srgbClr val="6E6E6E"/>
      </a:accent3>
      <a:accent4>
        <a:srgbClr val="A0A0A0"/>
      </a:accent4>
      <a:accent5>
        <a:srgbClr val="D2D2D2"/>
      </a:accent5>
      <a:accent6>
        <a:srgbClr val="F0F0F0"/>
      </a:accent6>
      <a:hlink>
        <a:srgbClr val="D90000"/>
      </a:hlink>
      <a:folHlink>
        <a:srgbClr val="FF000F"/>
      </a:folHlink>
    </a:clrScheme>
    <a:fontScheme name="ABBvoiceOffice">
      <a:majorFont>
        <a:latin typeface="ABBvoiceOffice"/>
        <a:ea typeface="ABBvoiceOffice"/>
        <a:cs typeface="ABBvoiceOffice"/>
      </a:majorFont>
      <a:minorFont>
        <a:latin typeface="ABBvoiceOffice"/>
        <a:ea typeface="ABBvoiceOffice"/>
        <a:cs typeface="ABBvoiceOff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ABB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1E1E1E"/>
      </a:accent1>
      <a:accent2>
        <a:srgbClr val="3C3C3C"/>
      </a:accent2>
      <a:accent3>
        <a:srgbClr val="6E6E6E"/>
      </a:accent3>
      <a:accent4>
        <a:srgbClr val="A0A0A0"/>
      </a:accent4>
      <a:accent5>
        <a:srgbClr val="D2D2D2"/>
      </a:accent5>
      <a:accent6>
        <a:srgbClr val="F0F0F0"/>
      </a:accent6>
      <a:hlink>
        <a:srgbClr val="D90000"/>
      </a:hlink>
      <a:folHlink>
        <a:srgbClr val="FF000F"/>
      </a:folHlink>
    </a:clrScheme>
    <a:fontScheme name="ABBvoiceOffice">
      <a:majorFont>
        <a:latin typeface="ABBvoiceOffice"/>
        <a:ea typeface="ABBvoiceOffice"/>
        <a:cs typeface="ABBvoiceOffice"/>
      </a:majorFont>
      <a:minorFont>
        <a:latin typeface="ABBvoiceOffice"/>
        <a:ea typeface="ABBvoiceOffice"/>
        <a:cs typeface="ABBvoiceOff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AD1B8C13D89947BF50A5D996F93ED7" ma:contentTypeVersion="13" ma:contentTypeDescription="Create a new document." ma:contentTypeScope="" ma:versionID="9e59755585e4e511c5dd035ae165ee41">
  <xsd:schema xmlns:xsd="http://www.w3.org/2001/XMLSchema" xmlns:xs="http://www.w3.org/2001/XMLSchema" xmlns:p="http://schemas.microsoft.com/office/2006/metadata/properties" xmlns:ns3="90434a5d-f4ae-4c78-b395-7011e012b6b7" xmlns:ns4="0f2842d3-c3f3-49f6-b88d-cddd4892d692" targetNamespace="http://schemas.microsoft.com/office/2006/metadata/properties" ma:root="true" ma:fieldsID="89fd0f77e5ca3c6180bc747695adcf60" ns3:_="" ns4:_="">
    <xsd:import namespace="90434a5d-f4ae-4c78-b395-7011e012b6b7"/>
    <xsd:import namespace="0f2842d3-c3f3-49f6-b88d-cddd4892d69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434a5d-f4ae-4c78-b395-7011e012b6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2842d3-c3f3-49f6-b88d-cddd4892d69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D3EB807-F968-4245-AEF8-617B9D43668F}">
  <ds:schemaRefs>
    <ds:schemaRef ds:uri="http://schemas.microsoft.com/office/2006/metadata/properties"/>
    <ds:schemaRef ds:uri="http://purl.org/dc/elements/1.1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90434a5d-f4ae-4c78-b395-7011e012b6b7"/>
    <ds:schemaRef ds:uri="0f2842d3-c3f3-49f6-b88d-cddd4892d692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EEA6981-94B8-4EAE-AD9B-23E2C8101E8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50AEB35-ECAF-4C97-8B75-28ED586A0F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0434a5d-f4ae-4c78-b395-7011e012b6b7"/>
    <ds:schemaRef ds:uri="0f2842d3-c3f3-49f6-b88d-cddd4892d6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BB PowerPoint Template 16by9</Template>
  <TotalTime>4552</TotalTime>
  <Words>867</Words>
  <Application>Microsoft Office PowerPoint</Application>
  <PresentationFormat>Personalizar</PresentationFormat>
  <Paragraphs>186</Paragraphs>
  <Slides>17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17</vt:i4>
      </vt:variant>
    </vt:vector>
  </HeadingPairs>
  <TitlesOfParts>
    <vt:vector size="21" baseType="lpstr">
      <vt:lpstr>ABB Master</vt:lpstr>
      <vt:lpstr>1_ABB Master</vt:lpstr>
      <vt:lpstr>2_ABB Master</vt:lpstr>
      <vt:lpstr>think-cell Slide</vt:lpstr>
      <vt:lpstr>  — ABB Let’s write the future. Together.</vt:lpstr>
      <vt:lpstr>Bem posicionada nos mercados globais</vt:lpstr>
      <vt:lpstr>Nossas Áreas de Negócio</vt:lpstr>
      <vt:lpstr>Electrification</vt:lpstr>
      <vt:lpstr>Motion</vt:lpstr>
      <vt:lpstr>Process Automation</vt:lpstr>
      <vt:lpstr>Robotics &amp; Discrete Automation </vt:lpstr>
      <vt:lpstr>Modelo de negócio totalmente descentralizado com 21 Divisões</vt:lpstr>
      <vt:lpstr>ABB no Brasil</vt:lpstr>
      <vt:lpstr>ABB no Brasil</vt:lpstr>
      <vt:lpstr>Valores ABB</vt:lpstr>
      <vt:lpstr> </vt:lpstr>
      <vt:lpstr>Integridade na ABB</vt:lpstr>
      <vt:lpstr>Modelo de Trabalho</vt:lpstr>
      <vt:lpstr>Modelo de Trabalho</vt:lpstr>
      <vt:lpstr>Modelo de Trabalho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B</dc:creator>
  <cp:lastModifiedBy>soraya</cp:lastModifiedBy>
  <cp:revision>45</cp:revision>
  <cp:lastPrinted>2020-02-19T09:53:30Z</cp:lastPrinted>
  <dcterms:created xsi:type="dcterms:W3CDTF">2017-07-06T15:12:40Z</dcterms:created>
  <dcterms:modified xsi:type="dcterms:W3CDTF">2021-06-18T21:09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AD1B8C13D89947BF50A5D996F93ED7</vt:lpwstr>
  </property>
</Properties>
</file>